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  <p:sldMasterId id="2147483730" r:id="rId6"/>
  </p:sldMasterIdLst>
  <p:notesMasterIdLst>
    <p:notesMasterId r:id="rId29"/>
  </p:notesMasterIdLst>
  <p:handoutMasterIdLst>
    <p:handoutMasterId r:id="rId30"/>
  </p:handoutMasterIdLst>
  <p:sldIdLst>
    <p:sldId id="302" r:id="rId7"/>
    <p:sldId id="329" r:id="rId8"/>
    <p:sldId id="328" r:id="rId9"/>
    <p:sldId id="262" r:id="rId10"/>
    <p:sldId id="256" r:id="rId11"/>
    <p:sldId id="258" r:id="rId12"/>
    <p:sldId id="295" r:id="rId13"/>
    <p:sldId id="330" r:id="rId14"/>
    <p:sldId id="281" r:id="rId15"/>
    <p:sldId id="326" r:id="rId16"/>
    <p:sldId id="291" r:id="rId17"/>
    <p:sldId id="296" r:id="rId18"/>
    <p:sldId id="297" r:id="rId19"/>
    <p:sldId id="298" r:id="rId20"/>
    <p:sldId id="299" r:id="rId21"/>
    <p:sldId id="300" r:id="rId22"/>
    <p:sldId id="331" r:id="rId23"/>
    <p:sldId id="301" r:id="rId24"/>
    <p:sldId id="257" r:id="rId25"/>
    <p:sldId id="327" r:id="rId26"/>
    <p:sldId id="259" r:id="rId27"/>
    <p:sldId id="261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F9F3"/>
    <a:srgbClr val="6CE1AB"/>
    <a:srgbClr val="CEFFDF"/>
    <a:srgbClr val="86A4F7"/>
    <a:srgbClr val="FFFFFF"/>
    <a:srgbClr val="584BF0"/>
    <a:srgbClr val="0A0000"/>
    <a:srgbClr val="020000"/>
    <a:srgbClr val="0100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323E36-8AE1-441C-96E8-0C044B4A3EDF}" v="1724" dt="2024-03-14T08:28:51.0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32" autoAdjust="0"/>
    <p:restoredTop sz="95847" autoAdjust="0"/>
  </p:normalViewPr>
  <p:slideViewPr>
    <p:cSldViewPr snapToGrid="0">
      <p:cViewPr varScale="1">
        <p:scale>
          <a:sx n="159" d="100"/>
          <a:sy n="159" d="100"/>
        </p:scale>
        <p:origin x="144" y="2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ri Marie Aamodt" userId="91f91055-7576-44c0-87b5-30a6c57d9b33" providerId="ADAL" clId="{11323E36-8AE1-441C-96E8-0C044B4A3EDF}"/>
    <pc:docChg chg="undo redo custSel addSld delSld modSld sldOrd">
      <pc:chgData name="Siri Marie Aamodt" userId="91f91055-7576-44c0-87b5-30a6c57d9b33" providerId="ADAL" clId="{11323E36-8AE1-441C-96E8-0C044B4A3EDF}" dt="2024-03-14T08:29:03.323" v="5442" actId="47"/>
      <pc:docMkLst>
        <pc:docMk/>
      </pc:docMkLst>
      <pc:sldChg chg="modSp add mod setBg">
        <pc:chgData name="Siri Marie Aamodt" userId="91f91055-7576-44c0-87b5-30a6c57d9b33" providerId="ADAL" clId="{11323E36-8AE1-441C-96E8-0C044B4A3EDF}" dt="2024-03-13T18:38:35.305" v="5228" actId="20577"/>
        <pc:sldMkLst>
          <pc:docMk/>
          <pc:sldMk cId="1181398527" sldId="257"/>
        </pc:sldMkLst>
        <pc:spChg chg="mod">
          <ac:chgData name="Siri Marie Aamodt" userId="91f91055-7576-44c0-87b5-30a6c57d9b33" providerId="ADAL" clId="{11323E36-8AE1-441C-96E8-0C044B4A3EDF}" dt="2024-03-13T14:55:53.888" v="2602" actId="20577"/>
          <ac:spMkLst>
            <pc:docMk/>
            <pc:sldMk cId="1181398527" sldId="257"/>
            <ac:spMk id="12" creationId="{336DA8A9-F039-7E03-24A9-7D8A8461C3B3}"/>
          </ac:spMkLst>
        </pc:spChg>
        <pc:spChg chg="mod">
          <ac:chgData name="Siri Marie Aamodt" userId="91f91055-7576-44c0-87b5-30a6c57d9b33" providerId="ADAL" clId="{11323E36-8AE1-441C-96E8-0C044B4A3EDF}" dt="2024-03-13T18:38:35.305" v="5228" actId="20577"/>
          <ac:spMkLst>
            <pc:docMk/>
            <pc:sldMk cId="1181398527" sldId="257"/>
            <ac:spMk id="13" creationId="{8B867323-716F-346F-3182-A5246C4E3E98}"/>
          </ac:spMkLst>
        </pc:spChg>
      </pc:sldChg>
      <pc:sldChg chg="ord">
        <pc:chgData name="Siri Marie Aamodt" userId="91f91055-7576-44c0-87b5-30a6c57d9b33" providerId="ADAL" clId="{11323E36-8AE1-441C-96E8-0C044B4A3EDF}" dt="2024-03-13T18:12:19.293" v="3444"/>
        <pc:sldMkLst>
          <pc:docMk/>
          <pc:sldMk cId="1004024443" sldId="258"/>
        </pc:sldMkLst>
      </pc:sldChg>
      <pc:sldChg chg="add ord setBg">
        <pc:chgData name="Siri Marie Aamodt" userId="91f91055-7576-44c0-87b5-30a6c57d9b33" providerId="ADAL" clId="{11323E36-8AE1-441C-96E8-0C044B4A3EDF}" dt="2024-03-13T18:36:58.333" v="5200"/>
        <pc:sldMkLst>
          <pc:docMk/>
          <pc:sldMk cId="3015373012" sldId="259"/>
        </pc:sldMkLst>
      </pc:sldChg>
      <pc:sldChg chg="modSp add mod setBg">
        <pc:chgData name="Siri Marie Aamodt" userId="91f91055-7576-44c0-87b5-30a6c57d9b33" providerId="ADAL" clId="{11323E36-8AE1-441C-96E8-0C044B4A3EDF}" dt="2024-03-14T08:25:08.160" v="5417" actId="20577"/>
        <pc:sldMkLst>
          <pc:docMk/>
          <pc:sldMk cId="164812456" sldId="261"/>
        </pc:sldMkLst>
        <pc:spChg chg="mod">
          <ac:chgData name="Siri Marie Aamodt" userId="91f91055-7576-44c0-87b5-30a6c57d9b33" providerId="ADAL" clId="{11323E36-8AE1-441C-96E8-0C044B4A3EDF}" dt="2024-03-14T08:25:08.160" v="5417" actId="20577"/>
          <ac:spMkLst>
            <pc:docMk/>
            <pc:sldMk cId="164812456" sldId="261"/>
            <ac:spMk id="7" creationId="{A0607C42-3F3C-4072-E2C9-323DDF4F354D}"/>
          </ac:spMkLst>
        </pc:spChg>
        <pc:spChg chg="mod">
          <ac:chgData name="Siri Marie Aamodt" userId="91f91055-7576-44c0-87b5-30a6c57d9b33" providerId="ADAL" clId="{11323E36-8AE1-441C-96E8-0C044B4A3EDF}" dt="2024-03-13T18:40:06.790" v="5246" actId="12"/>
          <ac:spMkLst>
            <pc:docMk/>
            <pc:sldMk cId="164812456" sldId="261"/>
            <ac:spMk id="8" creationId="{0FC388B4-0839-6F49-6DA6-F5CCA7C5CEF5}"/>
          </ac:spMkLst>
        </pc:spChg>
      </pc:sldChg>
      <pc:sldChg chg="ord">
        <pc:chgData name="Siri Marie Aamodt" userId="91f91055-7576-44c0-87b5-30a6c57d9b33" providerId="ADAL" clId="{11323E36-8AE1-441C-96E8-0C044B4A3EDF}" dt="2024-03-13T18:12:09.158" v="3442"/>
        <pc:sldMkLst>
          <pc:docMk/>
          <pc:sldMk cId="3389305665" sldId="262"/>
        </pc:sldMkLst>
      </pc:sldChg>
      <pc:sldChg chg="addSp delSp modSp mod ord">
        <pc:chgData name="Siri Marie Aamodt" userId="91f91055-7576-44c0-87b5-30a6c57d9b33" providerId="ADAL" clId="{11323E36-8AE1-441C-96E8-0C044B4A3EDF}" dt="2024-03-13T18:46:52.762" v="5370" actId="14100"/>
        <pc:sldMkLst>
          <pc:docMk/>
          <pc:sldMk cId="716021294" sldId="281"/>
        </pc:sldMkLst>
        <pc:spChg chg="del">
          <ac:chgData name="Siri Marie Aamodt" userId="91f91055-7576-44c0-87b5-30a6c57d9b33" providerId="ADAL" clId="{11323E36-8AE1-441C-96E8-0C044B4A3EDF}" dt="2024-03-13T18:41:35.980" v="5292" actId="478"/>
          <ac:spMkLst>
            <pc:docMk/>
            <pc:sldMk cId="716021294" sldId="281"/>
            <ac:spMk id="16" creationId="{5687BB9C-F3A4-68F0-4573-6C4EB414E80B}"/>
          </ac:spMkLst>
        </pc:spChg>
        <pc:spChg chg="mod">
          <ac:chgData name="Siri Marie Aamodt" userId="91f91055-7576-44c0-87b5-30a6c57d9b33" providerId="ADAL" clId="{11323E36-8AE1-441C-96E8-0C044B4A3EDF}" dt="2024-03-13T18:46:52.762" v="5370" actId="14100"/>
          <ac:spMkLst>
            <pc:docMk/>
            <pc:sldMk cId="716021294" sldId="281"/>
            <ac:spMk id="38" creationId="{93B1C6FA-8E83-F21C-8778-B8CCE7BD1984}"/>
          </ac:spMkLst>
        </pc:spChg>
        <pc:spChg chg="mod">
          <ac:chgData name="Siri Marie Aamodt" userId="91f91055-7576-44c0-87b5-30a6c57d9b33" providerId="ADAL" clId="{11323E36-8AE1-441C-96E8-0C044B4A3EDF}" dt="2024-03-13T18:46:46.666" v="5369" actId="14100"/>
          <ac:spMkLst>
            <pc:docMk/>
            <pc:sldMk cId="716021294" sldId="281"/>
            <ac:spMk id="39" creationId="{821A9C22-DED0-0E0B-FC92-0ADF8DA8A05E}"/>
          </ac:spMkLst>
        </pc:spChg>
        <pc:grpChg chg="add mod">
          <ac:chgData name="Siri Marie Aamodt" userId="91f91055-7576-44c0-87b5-30a6c57d9b33" providerId="ADAL" clId="{11323E36-8AE1-441C-96E8-0C044B4A3EDF}" dt="2024-03-13T18:46:21.745" v="5368" actId="1076"/>
          <ac:grpSpMkLst>
            <pc:docMk/>
            <pc:sldMk cId="716021294" sldId="281"/>
            <ac:grpSpMk id="29" creationId="{F01F2F4A-86F3-083D-B7CA-D8D753821928}"/>
          </ac:grpSpMkLst>
        </pc:grpChg>
        <pc:grpChg chg="mod">
          <ac:chgData name="Siri Marie Aamodt" userId="91f91055-7576-44c0-87b5-30a6c57d9b33" providerId="ADAL" clId="{11323E36-8AE1-441C-96E8-0C044B4A3EDF}" dt="2024-03-13T18:45:55.316" v="5362"/>
          <ac:grpSpMkLst>
            <pc:docMk/>
            <pc:sldMk cId="716021294" sldId="281"/>
            <ac:grpSpMk id="30" creationId="{F47336B5-D913-1D0D-D9D7-C2469A8512D6}"/>
          </ac:grpSpMkLst>
        </pc:grpChg>
        <pc:grpChg chg="mod">
          <ac:chgData name="Siri Marie Aamodt" userId="91f91055-7576-44c0-87b5-30a6c57d9b33" providerId="ADAL" clId="{11323E36-8AE1-441C-96E8-0C044B4A3EDF}" dt="2024-03-13T18:43:23.257" v="5311" actId="1076"/>
          <ac:grpSpMkLst>
            <pc:docMk/>
            <pc:sldMk cId="716021294" sldId="281"/>
            <ac:grpSpMk id="37" creationId="{7CE224EE-EE7C-A2F4-FC97-FB74EE1D9ABB}"/>
          </ac:grpSpMkLst>
        </pc:grpChg>
        <pc:picChg chg="mod">
          <ac:chgData name="Siri Marie Aamodt" userId="91f91055-7576-44c0-87b5-30a6c57d9b33" providerId="ADAL" clId="{11323E36-8AE1-441C-96E8-0C044B4A3EDF}" dt="2024-03-13T18:44:06.331" v="5336" actId="1035"/>
          <ac:picMkLst>
            <pc:docMk/>
            <pc:sldMk cId="716021294" sldId="281"/>
            <ac:picMk id="2" creationId="{F21A7586-DCC8-757A-F012-4F6F3C701BA3}"/>
          </ac:picMkLst>
        </pc:picChg>
        <pc:picChg chg="mod">
          <ac:chgData name="Siri Marie Aamodt" userId="91f91055-7576-44c0-87b5-30a6c57d9b33" providerId="ADAL" clId="{11323E36-8AE1-441C-96E8-0C044B4A3EDF}" dt="2024-03-13T18:43:58.785" v="5330" actId="1035"/>
          <ac:picMkLst>
            <pc:docMk/>
            <pc:sldMk cId="716021294" sldId="281"/>
            <ac:picMk id="5" creationId="{96FDD048-6E05-41BB-29DB-8AFB263AC6F7}"/>
          </ac:picMkLst>
        </pc:picChg>
        <pc:picChg chg="mod">
          <ac:chgData name="Siri Marie Aamodt" userId="91f91055-7576-44c0-87b5-30a6c57d9b33" providerId="ADAL" clId="{11323E36-8AE1-441C-96E8-0C044B4A3EDF}" dt="2024-03-13T18:45:36.154" v="5361" actId="1037"/>
          <ac:picMkLst>
            <pc:docMk/>
            <pc:sldMk cId="716021294" sldId="281"/>
            <ac:picMk id="14" creationId="{691D214E-C31F-638E-6C12-21D7D872020C}"/>
          </ac:picMkLst>
        </pc:picChg>
        <pc:picChg chg="add mod">
          <ac:chgData name="Siri Marie Aamodt" userId="91f91055-7576-44c0-87b5-30a6c57d9b33" providerId="ADAL" clId="{11323E36-8AE1-441C-96E8-0C044B4A3EDF}" dt="2024-03-13T18:45:36.154" v="5361" actId="1037"/>
          <ac:picMkLst>
            <pc:docMk/>
            <pc:sldMk cId="716021294" sldId="281"/>
            <ac:picMk id="19" creationId="{AA577212-5B78-754F-2D08-A09F78D34A0A}"/>
          </ac:picMkLst>
        </pc:picChg>
        <pc:picChg chg="mod">
          <ac:chgData name="Siri Marie Aamodt" userId="91f91055-7576-44c0-87b5-30a6c57d9b33" providerId="ADAL" clId="{11323E36-8AE1-441C-96E8-0C044B4A3EDF}" dt="2024-03-13T18:45:36.154" v="5361" actId="1037"/>
          <ac:picMkLst>
            <pc:docMk/>
            <pc:sldMk cId="716021294" sldId="281"/>
            <ac:picMk id="21" creationId="{54FE2030-A43E-4C1B-AD99-4BDC6EBC54E4}"/>
          </ac:picMkLst>
        </pc:picChg>
        <pc:picChg chg="add mod">
          <ac:chgData name="Siri Marie Aamodt" userId="91f91055-7576-44c0-87b5-30a6c57d9b33" providerId="ADAL" clId="{11323E36-8AE1-441C-96E8-0C044B4A3EDF}" dt="2024-03-13T18:43:53.484" v="5322" actId="1076"/>
          <ac:picMkLst>
            <pc:docMk/>
            <pc:sldMk cId="716021294" sldId="281"/>
            <ac:picMk id="24" creationId="{B3DE70F7-B923-433C-47B5-B63FAA6512E5}"/>
          </ac:picMkLst>
        </pc:picChg>
        <pc:picChg chg="mod ord">
          <ac:chgData name="Siri Marie Aamodt" userId="91f91055-7576-44c0-87b5-30a6c57d9b33" providerId="ADAL" clId="{11323E36-8AE1-441C-96E8-0C044B4A3EDF}" dt="2024-03-13T18:44:12.416" v="5340" actId="1036"/>
          <ac:picMkLst>
            <pc:docMk/>
            <pc:sldMk cId="716021294" sldId="281"/>
            <ac:picMk id="25" creationId="{AB54D78D-BF49-48A5-B7C7-94F50C687BD6}"/>
          </ac:picMkLst>
        </pc:picChg>
        <pc:picChg chg="add del mod">
          <ac:chgData name="Siri Marie Aamodt" userId="91f91055-7576-44c0-87b5-30a6c57d9b33" providerId="ADAL" clId="{11323E36-8AE1-441C-96E8-0C044B4A3EDF}" dt="2024-03-13T18:45:35.661" v="5360"/>
          <ac:picMkLst>
            <pc:docMk/>
            <pc:sldMk cId="716021294" sldId="281"/>
            <ac:picMk id="27" creationId="{D5EEDCDA-B263-3E73-7293-6871A558F9F0}"/>
          </ac:picMkLst>
        </pc:picChg>
        <pc:picChg chg="mod">
          <ac:chgData name="Siri Marie Aamodt" userId="91f91055-7576-44c0-87b5-30a6c57d9b33" providerId="ADAL" clId="{11323E36-8AE1-441C-96E8-0C044B4A3EDF}" dt="2024-03-13T18:45:55.316" v="5362"/>
          <ac:picMkLst>
            <pc:docMk/>
            <pc:sldMk cId="716021294" sldId="281"/>
            <ac:picMk id="31" creationId="{2099A174-3E9C-83CE-8DB0-F23A917DE035}"/>
          </ac:picMkLst>
        </pc:picChg>
        <pc:picChg chg="mod">
          <ac:chgData name="Siri Marie Aamodt" userId="91f91055-7576-44c0-87b5-30a6c57d9b33" providerId="ADAL" clId="{11323E36-8AE1-441C-96E8-0C044B4A3EDF}" dt="2024-03-13T18:45:55.316" v="5362"/>
          <ac:picMkLst>
            <pc:docMk/>
            <pc:sldMk cId="716021294" sldId="281"/>
            <ac:picMk id="32" creationId="{07259E02-44AD-DD75-C2C0-7D8A33BBD771}"/>
          </ac:picMkLst>
        </pc:picChg>
        <pc:picChg chg="mod">
          <ac:chgData name="Siri Marie Aamodt" userId="91f91055-7576-44c0-87b5-30a6c57d9b33" providerId="ADAL" clId="{11323E36-8AE1-441C-96E8-0C044B4A3EDF}" dt="2024-03-13T18:45:55.316" v="5362"/>
          <ac:picMkLst>
            <pc:docMk/>
            <pc:sldMk cId="716021294" sldId="281"/>
            <ac:picMk id="33" creationId="{6EABC2E5-A713-6753-BB5E-3210EBCE723E}"/>
          </ac:picMkLst>
        </pc:picChg>
        <pc:picChg chg="mod">
          <ac:chgData name="Siri Marie Aamodt" userId="91f91055-7576-44c0-87b5-30a6c57d9b33" providerId="ADAL" clId="{11323E36-8AE1-441C-96E8-0C044B4A3EDF}" dt="2024-03-13T18:45:55.316" v="5362"/>
          <ac:picMkLst>
            <pc:docMk/>
            <pc:sldMk cId="716021294" sldId="281"/>
            <ac:picMk id="35" creationId="{D66B7C97-AE07-4324-4249-1BDE3C62F42B}"/>
          </ac:picMkLst>
        </pc:picChg>
        <pc:picChg chg="del mod">
          <ac:chgData name="Siri Marie Aamodt" userId="91f91055-7576-44c0-87b5-30a6c57d9b33" providerId="ADAL" clId="{11323E36-8AE1-441C-96E8-0C044B4A3EDF}" dt="2024-03-13T18:43:42.804" v="5320" actId="478"/>
          <ac:picMkLst>
            <pc:docMk/>
            <pc:sldMk cId="716021294" sldId="281"/>
            <ac:picMk id="36" creationId="{B26F1BF8-65D2-62E4-040F-E0BA9C442286}"/>
          </ac:picMkLst>
        </pc:picChg>
        <pc:picChg chg="mod">
          <ac:chgData name="Siri Marie Aamodt" userId="91f91055-7576-44c0-87b5-30a6c57d9b33" providerId="ADAL" clId="{11323E36-8AE1-441C-96E8-0C044B4A3EDF}" dt="2024-03-13T18:45:55.316" v="5362"/>
          <ac:picMkLst>
            <pc:docMk/>
            <pc:sldMk cId="716021294" sldId="281"/>
            <ac:picMk id="42" creationId="{71C6665D-452C-C1C2-6130-692F9323DC32}"/>
          </ac:picMkLst>
        </pc:picChg>
        <pc:picChg chg="mod">
          <ac:chgData name="Siri Marie Aamodt" userId="91f91055-7576-44c0-87b5-30a6c57d9b33" providerId="ADAL" clId="{11323E36-8AE1-441C-96E8-0C044B4A3EDF}" dt="2024-03-13T18:45:55.316" v="5362"/>
          <ac:picMkLst>
            <pc:docMk/>
            <pc:sldMk cId="716021294" sldId="281"/>
            <ac:picMk id="43" creationId="{6B36B4F1-AACB-9BAC-DA60-9D56058084EF}"/>
          </ac:picMkLst>
        </pc:picChg>
      </pc:sldChg>
      <pc:sldChg chg="ord">
        <pc:chgData name="Siri Marie Aamodt" userId="91f91055-7576-44c0-87b5-30a6c57d9b33" providerId="ADAL" clId="{11323E36-8AE1-441C-96E8-0C044B4A3EDF}" dt="2024-03-13T15:00:37.781" v="2756"/>
        <pc:sldMkLst>
          <pc:docMk/>
          <pc:sldMk cId="2090500881" sldId="291"/>
        </pc:sldMkLst>
      </pc:sldChg>
      <pc:sldChg chg="addSp delSp modSp mod ord modClrScheme chgLayout">
        <pc:chgData name="Siri Marie Aamodt" userId="91f91055-7576-44c0-87b5-30a6c57d9b33" providerId="ADAL" clId="{11323E36-8AE1-441C-96E8-0C044B4A3EDF}" dt="2024-03-14T08:25:43.568" v="5420" actId="113"/>
        <pc:sldMkLst>
          <pc:docMk/>
          <pc:sldMk cId="2684699241" sldId="295"/>
        </pc:sldMkLst>
        <pc:spChg chg="mod ord">
          <ac:chgData name="Siri Marie Aamodt" userId="91f91055-7576-44c0-87b5-30a6c57d9b33" providerId="ADAL" clId="{11323E36-8AE1-441C-96E8-0C044B4A3EDF}" dt="2024-03-13T18:14:12.626" v="3576" actId="700"/>
          <ac:spMkLst>
            <pc:docMk/>
            <pc:sldMk cId="2684699241" sldId="295"/>
            <ac:spMk id="2" creationId="{B0457827-925A-76E2-6BE6-BFD2002EADA3}"/>
          </ac:spMkLst>
        </pc:spChg>
        <pc:spChg chg="mod ord">
          <ac:chgData name="Siri Marie Aamodt" userId="91f91055-7576-44c0-87b5-30a6c57d9b33" providerId="ADAL" clId="{11323E36-8AE1-441C-96E8-0C044B4A3EDF}" dt="2024-03-13T18:14:12.626" v="3576" actId="700"/>
          <ac:spMkLst>
            <pc:docMk/>
            <pc:sldMk cId="2684699241" sldId="295"/>
            <ac:spMk id="3" creationId="{7F28041C-306D-6579-184A-398FC263BCE7}"/>
          </ac:spMkLst>
        </pc:spChg>
        <pc:spChg chg="mod">
          <ac:chgData name="Siri Marie Aamodt" userId="91f91055-7576-44c0-87b5-30a6c57d9b33" providerId="ADAL" clId="{11323E36-8AE1-441C-96E8-0C044B4A3EDF}" dt="2024-03-14T08:25:43.568" v="5420" actId="113"/>
          <ac:spMkLst>
            <pc:docMk/>
            <pc:sldMk cId="2684699241" sldId="295"/>
            <ac:spMk id="4" creationId="{2C15E005-EE0E-BFB9-6175-D260C721EDC3}"/>
          </ac:spMkLst>
        </pc:spChg>
        <pc:spChg chg="add del mod ord">
          <ac:chgData name="Siri Marie Aamodt" userId="91f91055-7576-44c0-87b5-30a6c57d9b33" providerId="ADAL" clId="{11323E36-8AE1-441C-96E8-0C044B4A3EDF}" dt="2024-03-13T18:14:12.626" v="3576" actId="700"/>
          <ac:spMkLst>
            <pc:docMk/>
            <pc:sldMk cId="2684699241" sldId="295"/>
            <ac:spMk id="5" creationId="{148CE547-77AF-3CA6-4F26-3A0698B1339D}"/>
          </ac:spMkLst>
        </pc:spChg>
        <pc:spChg chg="add del mod ord">
          <ac:chgData name="Siri Marie Aamodt" userId="91f91055-7576-44c0-87b5-30a6c57d9b33" providerId="ADAL" clId="{11323E36-8AE1-441C-96E8-0C044B4A3EDF}" dt="2024-03-13T18:14:12.626" v="3576" actId="700"/>
          <ac:spMkLst>
            <pc:docMk/>
            <pc:sldMk cId="2684699241" sldId="295"/>
            <ac:spMk id="6" creationId="{1185D8F4-599E-9081-74C3-7B2715E53C49}"/>
          </ac:spMkLst>
        </pc:spChg>
        <pc:spChg chg="add del mod ord">
          <ac:chgData name="Siri Marie Aamodt" userId="91f91055-7576-44c0-87b5-30a6c57d9b33" providerId="ADAL" clId="{11323E36-8AE1-441C-96E8-0C044B4A3EDF}" dt="2024-03-13T18:14:12.626" v="3576" actId="700"/>
          <ac:spMkLst>
            <pc:docMk/>
            <pc:sldMk cId="2684699241" sldId="295"/>
            <ac:spMk id="7" creationId="{2B09B2E0-08B0-BD4E-C1BF-40564AE2DECF}"/>
          </ac:spMkLst>
        </pc:spChg>
        <pc:spChg chg="add del mod ord">
          <ac:chgData name="Siri Marie Aamodt" userId="91f91055-7576-44c0-87b5-30a6c57d9b33" providerId="ADAL" clId="{11323E36-8AE1-441C-96E8-0C044B4A3EDF}" dt="2024-03-13T18:14:12.626" v="3576" actId="700"/>
          <ac:spMkLst>
            <pc:docMk/>
            <pc:sldMk cId="2684699241" sldId="295"/>
            <ac:spMk id="8" creationId="{AD6ABBAC-4845-67D4-95EF-5BFFEA762322}"/>
          </ac:spMkLst>
        </pc:spChg>
      </pc:sldChg>
      <pc:sldChg chg="modSp mod">
        <pc:chgData name="Siri Marie Aamodt" userId="91f91055-7576-44c0-87b5-30a6c57d9b33" providerId="ADAL" clId="{11323E36-8AE1-441C-96E8-0C044B4A3EDF}" dt="2024-03-14T08:26:54.725" v="5428" actId="404"/>
        <pc:sldMkLst>
          <pc:docMk/>
          <pc:sldMk cId="357958192" sldId="296"/>
        </pc:sldMkLst>
        <pc:spChg chg="mod">
          <ac:chgData name="Siri Marie Aamodt" userId="91f91055-7576-44c0-87b5-30a6c57d9b33" providerId="ADAL" clId="{11323E36-8AE1-441C-96E8-0C044B4A3EDF}" dt="2024-03-14T08:26:54.725" v="5428" actId="404"/>
          <ac:spMkLst>
            <pc:docMk/>
            <pc:sldMk cId="357958192" sldId="296"/>
            <ac:spMk id="10" creationId="{B3485125-AAB9-64CA-2026-D47A231DF0D0}"/>
          </ac:spMkLst>
        </pc:spChg>
      </pc:sldChg>
      <pc:sldChg chg="modSp mod">
        <pc:chgData name="Siri Marie Aamodt" userId="91f91055-7576-44c0-87b5-30a6c57d9b33" providerId="ADAL" clId="{11323E36-8AE1-441C-96E8-0C044B4A3EDF}" dt="2024-03-14T08:27:38.865" v="5433" actId="948"/>
        <pc:sldMkLst>
          <pc:docMk/>
          <pc:sldMk cId="3630751791" sldId="297"/>
        </pc:sldMkLst>
        <pc:spChg chg="mod">
          <ac:chgData name="Siri Marie Aamodt" userId="91f91055-7576-44c0-87b5-30a6c57d9b33" providerId="ADAL" clId="{11323E36-8AE1-441C-96E8-0C044B4A3EDF}" dt="2024-03-14T08:27:38.865" v="5433" actId="948"/>
          <ac:spMkLst>
            <pc:docMk/>
            <pc:sldMk cId="3630751791" sldId="297"/>
            <ac:spMk id="10" creationId="{B3485125-AAB9-64CA-2026-D47A231DF0D0}"/>
          </ac:spMkLst>
        </pc:spChg>
      </pc:sldChg>
      <pc:sldChg chg="modSp mod">
        <pc:chgData name="Siri Marie Aamodt" userId="91f91055-7576-44c0-87b5-30a6c57d9b33" providerId="ADAL" clId="{11323E36-8AE1-441C-96E8-0C044B4A3EDF}" dt="2024-03-14T08:27:52.129" v="5434" actId="403"/>
        <pc:sldMkLst>
          <pc:docMk/>
          <pc:sldMk cId="3563429157" sldId="298"/>
        </pc:sldMkLst>
        <pc:spChg chg="mod">
          <ac:chgData name="Siri Marie Aamodt" userId="91f91055-7576-44c0-87b5-30a6c57d9b33" providerId="ADAL" clId="{11323E36-8AE1-441C-96E8-0C044B4A3EDF}" dt="2024-03-14T08:27:52.129" v="5434" actId="403"/>
          <ac:spMkLst>
            <pc:docMk/>
            <pc:sldMk cId="3563429157" sldId="298"/>
            <ac:spMk id="5" creationId="{44C0BB8D-D08E-BA7E-7214-B25E670510BD}"/>
          </ac:spMkLst>
        </pc:spChg>
      </pc:sldChg>
      <pc:sldChg chg="modSp mod setBg">
        <pc:chgData name="Siri Marie Aamodt" userId="91f91055-7576-44c0-87b5-30a6c57d9b33" providerId="ADAL" clId="{11323E36-8AE1-441C-96E8-0C044B4A3EDF}" dt="2024-03-14T08:28:15.945" v="5436" actId="108"/>
        <pc:sldMkLst>
          <pc:docMk/>
          <pc:sldMk cId="1338630926" sldId="299"/>
        </pc:sldMkLst>
        <pc:spChg chg="mod">
          <ac:chgData name="Siri Marie Aamodt" userId="91f91055-7576-44c0-87b5-30a6c57d9b33" providerId="ADAL" clId="{11323E36-8AE1-441C-96E8-0C044B4A3EDF}" dt="2024-03-14T08:28:15.945" v="5436" actId="108"/>
          <ac:spMkLst>
            <pc:docMk/>
            <pc:sldMk cId="1338630926" sldId="299"/>
            <ac:spMk id="10" creationId="{B3485125-AAB9-64CA-2026-D47A231DF0D0}"/>
          </ac:spMkLst>
        </pc:spChg>
      </pc:sldChg>
      <pc:sldChg chg="delSp modSp new mod modClrScheme chgLayout">
        <pc:chgData name="Siri Marie Aamodt" userId="91f91055-7576-44c0-87b5-30a6c57d9b33" providerId="ADAL" clId="{11323E36-8AE1-441C-96E8-0C044B4A3EDF}" dt="2024-03-13T18:39:29.923" v="5244" actId="20577"/>
        <pc:sldMkLst>
          <pc:docMk/>
          <pc:sldMk cId="1348001733" sldId="300"/>
        </pc:sldMkLst>
        <pc:spChg chg="mod ord">
          <ac:chgData name="Siri Marie Aamodt" userId="91f91055-7576-44c0-87b5-30a6c57d9b33" providerId="ADAL" clId="{11323E36-8AE1-441C-96E8-0C044B4A3EDF}" dt="2024-03-13T14:26:42.901" v="626" actId="700"/>
          <ac:spMkLst>
            <pc:docMk/>
            <pc:sldMk cId="1348001733" sldId="300"/>
            <ac:spMk id="2" creationId="{2D8066C0-82C1-E7E3-1C0E-143FC9667AA8}"/>
          </ac:spMkLst>
        </pc:spChg>
        <pc:spChg chg="mod ord">
          <ac:chgData name="Siri Marie Aamodt" userId="91f91055-7576-44c0-87b5-30a6c57d9b33" providerId="ADAL" clId="{11323E36-8AE1-441C-96E8-0C044B4A3EDF}" dt="2024-03-13T14:26:42.901" v="626" actId="700"/>
          <ac:spMkLst>
            <pc:docMk/>
            <pc:sldMk cId="1348001733" sldId="300"/>
            <ac:spMk id="3" creationId="{BFBAEAC1-0DA9-0AA8-5E4F-1C6BD6B95829}"/>
          </ac:spMkLst>
        </pc:spChg>
        <pc:spChg chg="mod ord">
          <ac:chgData name="Siri Marie Aamodt" userId="91f91055-7576-44c0-87b5-30a6c57d9b33" providerId="ADAL" clId="{11323E36-8AE1-441C-96E8-0C044B4A3EDF}" dt="2024-03-13T14:26:42.901" v="626" actId="700"/>
          <ac:spMkLst>
            <pc:docMk/>
            <pc:sldMk cId="1348001733" sldId="300"/>
            <ac:spMk id="4" creationId="{C39688C8-49F1-7C41-90AB-493BFCB33C86}"/>
          </ac:spMkLst>
        </pc:spChg>
        <pc:spChg chg="del">
          <ac:chgData name="Siri Marie Aamodt" userId="91f91055-7576-44c0-87b5-30a6c57d9b33" providerId="ADAL" clId="{11323E36-8AE1-441C-96E8-0C044B4A3EDF}" dt="2024-03-13T14:23:39.351" v="106" actId="478"/>
          <ac:spMkLst>
            <pc:docMk/>
            <pc:sldMk cId="1348001733" sldId="300"/>
            <ac:spMk id="5" creationId="{485CADDA-234E-B856-7CBF-4A4F4BAD5E49}"/>
          </ac:spMkLst>
        </pc:spChg>
        <pc:spChg chg="mod ord">
          <ac:chgData name="Siri Marie Aamodt" userId="91f91055-7576-44c0-87b5-30a6c57d9b33" providerId="ADAL" clId="{11323E36-8AE1-441C-96E8-0C044B4A3EDF}" dt="2024-03-13T18:39:29.923" v="5244" actId="20577"/>
          <ac:spMkLst>
            <pc:docMk/>
            <pc:sldMk cId="1348001733" sldId="300"/>
            <ac:spMk id="6" creationId="{76D8FE96-E8F5-28E1-4A88-E68BEDA56249}"/>
          </ac:spMkLst>
        </pc:spChg>
      </pc:sldChg>
      <pc:sldChg chg="modSp new mod setBg">
        <pc:chgData name="Siri Marie Aamodt" userId="91f91055-7576-44c0-87b5-30a6c57d9b33" providerId="ADAL" clId="{11323E36-8AE1-441C-96E8-0C044B4A3EDF}" dt="2024-03-13T18:40:38.067" v="5291" actId="20577"/>
        <pc:sldMkLst>
          <pc:docMk/>
          <pc:sldMk cId="1940390118" sldId="301"/>
        </pc:sldMkLst>
        <pc:spChg chg="mod">
          <ac:chgData name="Siri Marie Aamodt" userId="91f91055-7576-44c0-87b5-30a6c57d9b33" providerId="ADAL" clId="{11323E36-8AE1-441C-96E8-0C044B4A3EDF}" dt="2024-03-13T14:26:56.316" v="642" actId="20577"/>
          <ac:spMkLst>
            <pc:docMk/>
            <pc:sldMk cId="1940390118" sldId="301"/>
            <ac:spMk id="4" creationId="{B2A5C023-B135-5D92-9539-E23B8E9A222E}"/>
          </ac:spMkLst>
        </pc:spChg>
        <pc:spChg chg="mod">
          <ac:chgData name="Siri Marie Aamodt" userId="91f91055-7576-44c0-87b5-30a6c57d9b33" providerId="ADAL" clId="{11323E36-8AE1-441C-96E8-0C044B4A3EDF}" dt="2024-03-13T18:40:38.067" v="5291" actId="20577"/>
          <ac:spMkLst>
            <pc:docMk/>
            <pc:sldMk cId="1940390118" sldId="301"/>
            <ac:spMk id="5" creationId="{EC8022D6-B602-BB21-62DC-57D3080AE697}"/>
          </ac:spMkLst>
        </pc:spChg>
      </pc:sldChg>
      <pc:sldChg chg="addSp delSp modSp new mod ord modClrScheme chgLayout">
        <pc:chgData name="Siri Marie Aamodt" userId="91f91055-7576-44c0-87b5-30a6c57d9b33" providerId="ADAL" clId="{11323E36-8AE1-441C-96E8-0C044B4A3EDF}" dt="2024-03-14T08:24:47.494" v="5408" actId="20577"/>
        <pc:sldMkLst>
          <pc:docMk/>
          <pc:sldMk cId="47297863" sldId="302"/>
        </pc:sldMkLst>
        <pc:spChg chg="del">
          <ac:chgData name="Siri Marie Aamodt" userId="91f91055-7576-44c0-87b5-30a6c57d9b33" providerId="ADAL" clId="{11323E36-8AE1-441C-96E8-0C044B4A3EDF}" dt="2024-03-13T14:31:17.903" v="1339" actId="700"/>
          <ac:spMkLst>
            <pc:docMk/>
            <pc:sldMk cId="47297863" sldId="302"/>
            <ac:spMk id="2" creationId="{EBDD9278-852E-B804-6266-89DEBEA06EBA}"/>
          </ac:spMkLst>
        </pc:spChg>
        <pc:spChg chg="mod ord">
          <ac:chgData name="Siri Marie Aamodt" userId="91f91055-7576-44c0-87b5-30a6c57d9b33" providerId="ADAL" clId="{11323E36-8AE1-441C-96E8-0C044B4A3EDF}" dt="2024-03-13T14:31:17.903" v="1339" actId="700"/>
          <ac:spMkLst>
            <pc:docMk/>
            <pc:sldMk cId="47297863" sldId="302"/>
            <ac:spMk id="3" creationId="{ECB1DAD4-7163-724E-E85C-42AAC6544760}"/>
          </ac:spMkLst>
        </pc:spChg>
        <pc:spChg chg="add mod ord">
          <ac:chgData name="Siri Marie Aamodt" userId="91f91055-7576-44c0-87b5-30a6c57d9b33" providerId="ADAL" clId="{11323E36-8AE1-441C-96E8-0C044B4A3EDF}" dt="2024-03-13T14:31:25.654" v="1368" actId="20577"/>
          <ac:spMkLst>
            <pc:docMk/>
            <pc:sldMk cId="47297863" sldId="302"/>
            <ac:spMk id="4" creationId="{6011F267-3524-F3C6-697A-1CD283A8666C}"/>
          </ac:spMkLst>
        </pc:spChg>
        <pc:spChg chg="add mod ord">
          <ac:chgData name="Siri Marie Aamodt" userId="91f91055-7576-44c0-87b5-30a6c57d9b33" providerId="ADAL" clId="{11323E36-8AE1-441C-96E8-0C044B4A3EDF}" dt="2024-03-14T08:24:47.494" v="5408" actId="20577"/>
          <ac:spMkLst>
            <pc:docMk/>
            <pc:sldMk cId="47297863" sldId="302"/>
            <ac:spMk id="5" creationId="{4C9E667E-D764-5910-51B6-EAD6E12EC14B}"/>
          </ac:spMkLst>
        </pc:spChg>
        <pc:spChg chg="add del mod ord">
          <ac:chgData name="Siri Marie Aamodt" userId="91f91055-7576-44c0-87b5-30a6c57d9b33" providerId="ADAL" clId="{11323E36-8AE1-441C-96E8-0C044B4A3EDF}" dt="2024-03-13T14:32:27.518" v="1454" actId="478"/>
          <ac:spMkLst>
            <pc:docMk/>
            <pc:sldMk cId="47297863" sldId="302"/>
            <ac:spMk id="6" creationId="{4E6913D6-9BDD-8DA1-FB95-969DB1A5CDA4}"/>
          </ac:spMkLst>
        </pc:spChg>
        <pc:spChg chg="add mod ord">
          <ac:chgData name="Siri Marie Aamodt" userId="91f91055-7576-44c0-87b5-30a6c57d9b33" providerId="ADAL" clId="{11323E36-8AE1-441C-96E8-0C044B4A3EDF}" dt="2024-03-13T14:33:19.206" v="1459" actId="1076"/>
          <ac:spMkLst>
            <pc:docMk/>
            <pc:sldMk cId="47297863" sldId="302"/>
            <ac:spMk id="7" creationId="{E8EDCFE4-B893-9C67-BCAB-6BDA12E054A9}"/>
          </ac:spMkLst>
        </pc:spChg>
        <pc:spChg chg="add mod ord">
          <ac:chgData name="Siri Marie Aamodt" userId="91f91055-7576-44c0-87b5-30a6c57d9b33" providerId="ADAL" clId="{11323E36-8AE1-441C-96E8-0C044B4A3EDF}" dt="2024-03-13T14:31:50.948" v="1452" actId="20577"/>
          <ac:spMkLst>
            <pc:docMk/>
            <pc:sldMk cId="47297863" sldId="302"/>
            <ac:spMk id="8" creationId="{CEC7378F-725B-CEE7-5A36-C20301B36637}"/>
          </ac:spMkLst>
        </pc:spChg>
        <pc:spChg chg="add del mod ord">
          <ac:chgData name="Siri Marie Aamodt" userId="91f91055-7576-44c0-87b5-30a6c57d9b33" providerId="ADAL" clId="{11323E36-8AE1-441C-96E8-0C044B4A3EDF}" dt="2024-03-13T14:31:54.074" v="1453" actId="478"/>
          <ac:spMkLst>
            <pc:docMk/>
            <pc:sldMk cId="47297863" sldId="302"/>
            <ac:spMk id="9" creationId="{72EE6213-0E90-E5EB-FC80-E242448CC1F1}"/>
          </ac:spMkLst>
        </pc:spChg>
        <pc:spChg chg="add mod ord">
          <ac:chgData name="Siri Marie Aamodt" userId="91f91055-7576-44c0-87b5-30a6c57d9b33" providerId="ADAL" clId="{11323E36-8AE1-441C-96E8-0C044B4A3EDF}" dt="2024-03-13T14:31:17.903" v="1339" actId="700"/>
          <ac:spMkLst>
            <pc:docMk/>
            <pc:sldMk cId="47297863" sldId="302"/>
            <ac:spMk id="10" creationId="{61F303F7-51EB-5677-204E-662F03CD4021}"/>
          </ac:spMkLst>
        </pc:spChg>
        <pc:spChg chg="add mod ord">
          <ac:chgData name="Siri Marie Aamodt" userId="91f91055-7576-44c0-87b5-30a6c57d9b33" providerId="ADAL" clId="{11323E36-8AE1-441C-96E8-0C044B4A3EDF}" dt="2024-03-13T14:31:39.375" v="1412" actId="20577"/>
          <ac:spMkLst>
            <pc:docMk/>
            <pc:sldMk cId="47297863" sldId="302"/>
            <ac:spMk id="11" creationId="{577A6A70-06CB-2E00-D867-6E2CEC754A81}"/>
          </ac:spMkLst>
        </pc:spChg>
        <pc:grpChg chg="add del mod">
          <ac:chgData name="Siri Marie Aamodt" userId="91f91055-7576-44c0-87b5-30a6c57d9b33" providerId="ADAL" clId="{11323E36-8AE1-441C-96E8-0C044B4A3EDF}" dt="2024-03-13T14:32:29.920" v="1456"/>
          <ac:grpSpMkLst>
            <pc:docMk/>
            <pc:sldMk cId="47297863" sldId="302"/>
            <ac:grpSpMk id="12" creationId="{ECB4ADA2-6B42-3E27-61C3-03E826A12F2A}"/>
          </ac:grpSpMkLst>
        </pc:grpChg>
        <pc:grpChg chg="add mod ord">
          <ac:chgData name="Siri Marie Aamodt" userId="91f91055-7576-44c0-87b5-30a6c57d9b33" providerId="ADAL" clId="{11323E36-8AE1-441C-96E8-0C044B4A3EDF}" dt="2024-03-13T14:32:50.516" v="1458" actId="167"/>
          <ac:grpSpMkLst>
            <pc:docMk/>
            <pc:sldMk cId="47297863" sldId="302"/>
            <ac:grpSpMk id="18" creationId="{34EB2A91-EBB4-652F-D1BD-45A444993674}"/>
          </ac:grpSpMkLst>
        </pc:grpChg>
        <pc:grpChg chg="mod">
          <ac:chgData name="Siri Marie Aamodt" userId="91f91055-7576-44c0-87b5-30a6c57d9b33" providerId="ADAL" clId="{11323E36-8AE1-441C-96E8-0C044B4A3EDF}" dt="2024-03-13T14:32:46.437" v="1457"/>
          <ac:grpSpMkLst>
            <pc:docMk/>
            <pc:sldMk cId="47297863" sldId="302"/>
            <ac:grpSpMk id="19" creationId="{9EA49866-DBB2-5D54-3CA8-278734D9AD11}"/>
          </ac:grpSpMkLst>
        </pc:grpChg>
        <pc:picChg chg="mod">
          <ac:chgData name="Siri Marie Aamodt" userId="91f91055-7576-44c0-87b5-30a6c57d9b33" providerId="ADAL" clId="{11323E36-8AE1-441C-96E8-0C044B4A3EDF}" dt="2024-03-13T14:32:28.354" v="1455"/>
          <ac:picMkLst>
            <pc:docMk/>
            <pc:sldMk cId="47297863" sldId="302"/>
            <ac:picMk id="13" creationId="{C492C012-CA66-75BE-EE60-385FE44BF789}"/>
          </ac:picMkLst>
        </pc:picChg>
        <pc:picChg chg="mod">
          <ac:chgData name="Siri Marie Aamodt" userId="91f91055-7576-44c0-87b5-30a6c57d9b33" providerId="ADAL" clId="{11323E36-8AE1-441C-96E8-0C044B4A3EDF}" dt="2024-03-13T14:32:28.354" v="1455"/>
          <ac:picMkLst>
            <pc:docMk/>
            <pc:sldMk cId="47297863" sldId="302"/>
            <ac:picMk id="14" creationId="{51BB8791-C3FA-5974-040A-5D8FE3F44389}"/>
          </ac:picMkLst>
        </pc:picChg>
        <pc:picChg chg="mod">
          <ac:chgData name="Siri Marie Aamodt" userId="91f91055-7576-44c0-87b5-30a6c57d9b33" providerId="ADAL" clId="{11323E36-8AE1-441C-96E8-0C044B4A3EDF}" dt="2024-03-13T14:32:28.354" v="1455"/>
          <ac:picMkLst>
            <pc:docMk/>
            <pc:sldMk cId="47297863" sldId="302"/>
            <ac:picMk id="15" creationId="{721EF117-79E3-2264-265A-6ADA252BBA46}"/>
          </ac:picMkLst>
        </pc:picChg>
        <pc:picChg chg="mod">
          <ac:chgData name="Siri Marie Aamodt" userId="91f91055-7576-44c0-87b5-30a6c57d9b33" providerId="ADAL" clId="{11323E36-8AE1-441C-96E8-0C044B4A3EDF}" dt="2024-03-13T14:32:28.354" v="1455"/>
          <ac:picMkLst>
            <pc:docMk/>
            <pc:sldMk cId="47297863" sldId="302"/>
            <ac:picMk id="16" creationId="{0B0D04EB-7411-DD4C-5C9F-2CABF37F0777}"/>
          </ac:picMkLst>
        </pc:picChg>
        <pc:picChg chg="mod">
          <ac:chgData name="Siri Marie Aamodt" userId="91f91055-7576-44c0-87b5-30a6c57d9b33" providerId="ADAL" clId="{11323E36-8AE1-441C-96E8-0C044B4A3EDF}" dt="2024-03-13T14:32:28.354" v="1455"/>
          <ac:picMkLst>
            <pc:docMk/>
            <pc:sldMk cId="47297863" sldId="302"/>
            <ac:picMk id="17" creationId="{17286C1A-81AE-255C-F69B-42CE5F297F6E}"/>
          </ac:picMkLst>
        </pc:picChg>
        <pc:picChg chg="mod">
          <ac:chgData name="Siri Marie Aamodt" userId="91f91055-7576-44c0-87b5-30a6c57d9b33" providerId="ADAL" clId="{11323E36-8AE1-441C-96E8-0C044B4A3EDF}" dt="2024-03-13T14:32:46.437" v="1457"/>
          <ac:picMkLst>
            <pc:docMk/>
            <pc:sldMk cId="47297863" sldId="302"/>
            <ac:picMk id="20" creationId="{03079494-5B04-1A58-E776-E1E6B73F4B93}"/>
          </ac:picMkLst>
        </pc:picChg>
        <pc:picChg chg="mod">
          <ac:chgData name="Siri Marie Aamodt" userId="91f91055-7576-44c0-87b5-30a6c57d9b33" providerId="ADAL" clId="{11323E36-8AE1-441C-96E8-0C044B4A3EDF}" dt="2024-03-13T14:32:46.437" v="1457"/>
          <ac:picMkLst>
            <pc:docMk/>
            <pc:sldMk cId="47297863" sldId="302"/>
            <ac:picMk id="21" creationId="{EACBD4CA-AD28-8D5E-3175-4DF162E5C6B2}"/>
          </ac:picMkLst>
        </pc:picChg>
        <pc:picChg chg="mod">
          <ac:chgData name="Siri Marie Aamodt" userId="91f91055-7576-44c0-87b5-30a6c57d9b33" providerId="ADAL" clId="{11323E36-8AE1-441C-96E8-0C044B4A3EDF}" dt="2024-03-13T14:32:46.437" v="1457"/>
          <ac:picMkLst>
            <pc:docMk/>
            <pc:sldMk cId="47297863" sldId="302"/>
            <ac:picMk id="22" creationId="{16B40C27-DCA4-C349-2279-22B2F64354FC}"/>
          </ac:picMkLst>
        </pc:picChg>
        <pc:picChg chg="mod">
          <ac:chgData name="Siri Marie Aamodt" userId="91f91055-7576-44c0-87b5-30a6c57d9b33" providerId="ADAL" clId="{11323E36-8AE1-441C-96E8-0C044B4A3EDF}" dt="2024-03-13T14:32:46.437" v="1457"/>
          <ac:picMkLst>
            <pc:docMk/>
            <pc:sldMk cId="47297863" sldId="302"/>
            <ac:picMk id="23" creationId="{4E9DD282-2219-E668-CFB7-7DAE5A78B8D5}"/>
          </ac:picMkLst>
        </pc:picChg>
        <pc:picChg chg="mod">
          <ac:chgData name="Siri Marie Aamodt" userId="91f91055-7576-44c0-87b5-30a6c57d9b33" providerId="ADAL" clId="{11323E36-8AE1-441C-96E8-0C044B4A3EDF}" dt="2024-03-13T14:32:46.437" v="1457"/>
          <ac:picMkLst>
            <pc:docMk/>
            <pc:sldMk cId="47297863" sldId="302"/>
            <ac:picMk id="24" creationId="{BC3D0515-906E-C459-9349-9338B57283C8}"/>
          </ac:picMkLst>
        </pc:picChg>
        <pc:picChg chg="mod">
          <ac:chgData name="Siri Marie Aamodt" userId="91f91055-7576-44c0-87b5-30a6c57d9b33" providerId="ADAL" clId="{11323E36-8AE1-441C-96E8-0C044B4A3EDF}" dt="2024-03-13T14:32:46.437" v="1457"/>
          <ac:picMkLst>
            <pc:docMk/>
            <pc:sldMk cId="47297863" sldId="302"/>
            <ac:picMk id="25" creationId="{EAE50CD5-A4BB-E417-4825-DCC67FFCFB2B}"/>
          </ac:picMkLst>
        </pc:picChg>
      </pc:sldChg>
      <pc:sldChg chg="modSp add mod ord">
        <pc:chgData name="Siri Marie Aamodt" userId="91f91055-7576-44c0-87b5-30a6c57d9b33" providerId="ADAL" clId="{11323E36-8AE1-441C-96E8-0C044B4A3EDF}" dt="2024-03-13T18:26:40.662" v="4474" actId="20577"/>
        <pc:sldMkLst>
          <pc:docMk/>
          <pc:sldMk cId="1624244138" sldId="326"/>
        </pc:sldMkLst>
        <pc:spChg chg="mod">
          <ac:chgData name="Siri Marie Aamodt" userId="91f91055-7576-44c0-87b5-30a6c57d9b33" providerId="ADAL" clId="{11323E36-8AE1-441C-96E8-0C044B4A3EDF}" dt="2024-03-13T14:46:47.656" v="2464" actId="20577"/>
          <ac:spMkLst>
            <pc:docMk/>
            <pc:sldMk cId="1624244138" sldId="326"/>
            <ac:spMk id="4" creationId="{4F22E749-E4FE-33B4-984F-059FFEA1D65F}"/>
          </ac:spMkLst>
        </pc:spChg>
        <pc:graphicFrameChg chg="mod">
          <ac:chgData name="Siri Marie Aamodt" userId="91f91055-7576-44c0-87b5-30a6c57d9b33" providerId="ADAL" clId="{11323E36-8AE1-441C-96E8-0C044B4A3EDF}" dt="2024-03-13T18:26:40.662" v="4474" actId="20577"/>
          <ac:graphicFrameMkLst>
            <pc:docMk/>
            <pc:sldMk cId="1624244138" sldId="326"/>
            <ac:graphicFrameMk id="8" creationId="{74DA2BB9-C347-186B-C164-A8B2AAA5C50B}"/>
          </ac:graphicFrameMkLst>
        </pc:graphicFrameChg>
      </pc:sldChg>
      <pc:sldChg chg="modSp add del mod">
        <pc:chgData name="Siri Marie Aamodt" userId="91f91055-7576-44c0-87b5-30a6c57d9b33" providerId="ADAL" clId="{11323E36-8AE1-441C-96E8-0C044B4A3EDF}" dt="2024-03-13T14:55:44.272" v="2568" actId="47"/>
        <pc:sldMkLst>
          <pc:docMk/>
          <pc:sldMk cId="2397505898" sldId="327"/>
        </pc:sldMkLst>
        <pc:spChg chg="mod">
          <ac:chgData name="Siri Marie Aamodt" userId="91f91055-7576-44c0-87b5-30a6c57d9b33" providerId="ADAL" clId="{11323E36-8AE1-441C-96E8-0C044B4A3EDF}" dt="2024-03-13T14:55:09.258" v="2566" actId="20577"/>
          <ac:spMkLst>
            <pc:docMk/>
            <pc:sldMk cId="2397505898" sldId="327"/>
            <ac:spMk id="5" creationId="{EC8022D6-B602-BB21-62DC-57D3080AE697}"/>
          </ac:spMkLst>
        </pc:spChg>
      </pc:sldChg>
      <pc:sldChg chg="modSp add mod setBg">
        <pc:chgData name="Siri Marie Aamodt" userId="91f91055-7576-44c0-87b5-30a6c57d9b33" providerId="ADAL" clId="{11323E36-8AE1-441C-96E8-0C044B4A3EDF}" dt="2024-03-13T18:38:17.899" v="5219" actId="403"/>
        <pc:sldMkLst>
          <pc:docMk/>
          <pc:sldMk cId="2522211365" sldId="327"/>
        </pc:sldMkLst>
        <pc:spChg chg="mod">
          <ac:chgData name="Siri Marie Aamodt" userId="91f91055-7576-44c0-87b5-30a6c57d9b33" providerId="ADAL" clId="{11323E36-8AE1-441C-96E8-0C044B4A3EDF}" dt="2024-03-13T18:38:17.899" v="5219" actId="403"/>
          <ac:spMkLst>
            <pc:docMk/>
            <pc:sldMk cId="2522211365" sldId="327"/>
            <ac:spMk id="12" creationId="{336DA8A9-F039-7E03-24A9-7D8A8461C3B3}"/>
          </ac:spMkLst>
        </pc:spChg>
        <pc:spChg chg="mod">
          <ac:chgData name="Siri Marie Aamodt" userId="91f91055-7576-44c0-87b5-30a6c57d9b33" providerId="ADAL" clId="{11323E36-8AE1-441C-96E8-0C044B4A3EDF}" dt="2024-03-13T18:38:09.772" v="5216" actId="403"/>
          <ac:spMkLst>
            <pc:docMk/>
            <pc:sldMk cId="2522211365" sldId="327"/>
            <ac:spMk id="13" creationId="{8B867323-716F-346F-3182-A5246C4E3E98}"/>
          </ac:spMkLst>
        </pc:spChg>
      </pc:sldChg>
      <pc:sldChg chg="addSp delSp modSp new mod modClrScheme chgLayout">
        <pc:chgData name="Siri Marie Aamodt" userId="91f91055-7576-44c0-87b5-30a6c57d9b33" providerId="ADAL" clId="{11323E36-8AE1-441C-96E8-0C044B4A3EDF}" dt="2024-03-13T18:11:47.911" v="3438" actId="12"/>
        <pc:sldMkLst>
          <pc:docMk/>
          <pc:sldMk cId="1996391145" sldId="328"/>
        </pc:sldMkLst>
        <pc:spChg chg="del">
          <ac:chgData name="Siri Marie Aamodt" userId="91f91055-7576-44c0-87b5-30a6c57d9b33" providerId="ADAL" clId="{11323E36-8AE1-441C-96E8-0C044B4A3EDF}" dt="2024-03-13T18:03:18.013" v="2786" actId="700"/>
          <ac:spMkLst>
            <pc:docMk/>
            <pc:sldMk cId="1996391145" sldId="328"/>
            <ac:spMk id="2" creationId="{E00C42C4-7551-B6DC-90C8-8B2796CB5DB4}"/>
          </ac:spMkLst>
        </pc:spChg>
        <pc:spChg chg="mod ord">
          <ac:chgData name="Siri Marie Aamodt" userId="91f91055-7576-44c0-87b5-30a6c57d9b33" providerId="ADAL" clId="{11323E36-8AE1-441C-96E8-0C044B4A3EDF}" dt="2024-03-13T18:03:33.172" v="2787" actId="700"/>
          <ac:spMkLst>
            <pc:docMk/>
            <pc:sldMk cId="1996391145" sldId="328"/>
            <ac:spMk id="3" creationId="{1B6B93FB-835B-8E95-0BA3-75B27466C4F3}"/>
          </ac:spMkLst>
        </pc:spChg>
        <pc:spChg chg="add del mod ord">
          <ac:chgData name="Siri Marie Aamodt" userId="91f91055-7576-44c0-87b5-30a6c57d9b33" providerId="ADAL" clId="{11323E36-8AE1-441C-96E8-0C044B4A3EDF}" dt="2024-03-13T18:03:33.172" v="2787" actId="700"/>
          <ac:spMkLst>
            <pc:docMk/>
            <pc:sldMk cId="1996391145" sldId="328"/>
            <ac:spMk id="4" creationId="{9FA003AB-1382-2625-F961-87B2F3A320DF}"/>
          </ac:spMkLst>
        </pc:spChg>
        <pc:spChg chg="add del mod ord">
          <ac:chgData name="Siri Marie Aamodt" userId="91f91055-7576-44c0-87b5-30a6c57d9b33" providerId="ADAL" clId="{11323E36-8AE1-441C-96E8-0C044B4A3EDF}" dt="2024-03-13T18:03:33.172" v="2787" actId="700"/>
          <ac:spMkLst>
            <pc:docMk/>
            <pc:sldMk cId="1996391145" sldId="328"/>
            <ac:spMk id="5" creationId="{3AE978A7-4010-4A2E-C9E1-7307BA2230C4}"/>
          </ac:spMkLst>
        </pc:spChg>
        <pc:spChg chg="add del mod ord">
          <ac:chgData name="Siri Marie Aamodt" userId="91f91055-7576-44c0-87b5-30a6c57d9b33" providerId="ADAL" clId="{11323E36-8AE1-441C-96E8-0C044B4A3EDF}" dt="2024-03-13T18:03:33.172" v="2787" actId="700"/>
          <ac:spMkLst>
            <pc:docMk/>
            <pc:sldMk cId="1996391145" sldId="328"/>
            <ac:spMk id="6" creationId="{447B6A32-8546-1B2E-FDA7-A9277AB57C0D}"/>
          </ac:spMkLst>
        </pc:spChg>
        <pc:spChg chg="add mod ord">
          <ac:chgData name="Siri Marie Aamodt" userId="91f91055-7576-44c0-87b5-30a6c57d9b33" providerId="ADAL" clId="{11323E36-8AE1-441C-96E8-0C044B4A3EDF}" dt="2024-03-13T18:03:40.979" v="2827" actId="20577"/>
          <ac:spMkLst>
            <pc:docMk/>
            <pc:sldMk cId="1996391145" sldId="328"/>
            <ac:spMk id="7" creationId="{E0B4E731-884D-9D78-E424-86D95E6658C4}"/>
          </ac:spMkLst>
        </pc:spChg>
        <pc:spChg chg="add mod ord">
          <ac:chgData name="Siri Marie Aamodt" userId="91f91055-7576-44c0-87b5-30a6c57d9b33" providerId="ADAL" clId="{11323E36-8AE1-441C-96E8-0C044B4A3EDF}" dt="2024-03-13T18:11:47.911" v="3438" actId="12"/>
          <ac:spMkLst>
            <pc:docMk/>
            <pc:sldMk cId="1996391145" sldId="328"/>
            <ac:spMk id="8" creationId="{15B2FFCB-268E-F1BE-7F38-8F51F407080C}"/>
          </ac:spMkLst>
        </pc:spChg>
      </pc:sldChg>
      <pc:sldChg chg="addSp delSp modSp new mod setBg modClrScheme chgLayout">
        <pc:chgData name="Siri Marie Aamodt" userId="91f91055-7576-44c0-87b5-30a6c57d9b33" providerId="ADAL" clId="{11323E36-8AE1-441C-96E8-0C044B4A3EDF}" dt="2024-03-13T18:14:43.346" v="3633" actId="20577"/>
        <pc:sldMkLst>
          <pc:docMk/>
          <pc:sldMk cId="1794519138" sldId="329"/>
        </pc:sldMkLst>
        <pc:spChg chg="del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2" creationId="{64D4F035-7D8D-4EBA-5E34-132EEDB6C7D4}"/>
          </ac:spMkLst>
        </pc:spChg>
        <pc:spChg chg="del mod ord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3" creationId="{4B37833E-F003-3153-73EC-BC65345140F2}"/>
          </ac:spMkLst>
        </pc:spChg>
        <pc:spChg chg="del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4" creationId="{AD5128F0-6C94-F45A-DA0E-F9C1593E49A3}"/>
          </ac:spMkLst>
        </pc:spChg>
        <pc:spChg chg="del mod ord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5" creationId="{A2F6FD96-7553-2EB5-D725-BCBCEBE69E92}"/>
          </ac:spMkLst>
        </pc:spChg>
        <pc:spChg chg="del mod ord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6" creationId="{348AF274-8C05-1483-BD1E-7FFEE3F8A529}"/>
          </ac:spMkLst>
        </pc:spChg>
        <pc:spChg chg="del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7" creationId="{921584FE-6824-9538-052A-D72D587B79EF}"/>
          </ac:spMkLst>
        </pc:spChg>
        <pc:spChg chg="del mod ord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8" creationId="{02F9AA35-4B28-21F6-05DD-E0DF7EFF2F47}"/>
          </ac:spMkLst>
        </pc:spChg>
        <pc:spChg chg="del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9" creationId="{175191F7-3440-9448-2E52-9D00BBD6DF7A}"/>
          </ac:spMkLst>
        </pc:spChg>
        <pc:spChg chg="del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10" creationId="{FB3984EF-AEFF-E5C6-4C16-75EC1796A3C8}"/>
          </ac:spMkLst>
        </pc:spChg>
        <pc:spChg chg="del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11" creationId="{86A661AF-4124-4393-BBCC-69B95BED1BCF}"/>
          </ac:spMkLst>
        </pc:spChg>
        <pc:spChg chg="add mod ord">
          <ac:chgData name="Siri Marie Aamodt" userId="91f91055-7576-44c0-87b5-30a6c57d9b33" providerId="ADAL" clId="{11323E36-8AE1-441C-96E8-0C044B4A3EDF}" dt="2024-03-13T18:14:43.346" v="3633" actId="20577"/>
          <ac:spMkLst>
            <pc:docMk/>
            <pc:sldMk cId="1794519138" sldId="329"/>
            <ac:spMk id="12" creationId="{536D78F8-73F0-63C3-BD89-9433F60A6377}"/>
          </ac:spMkLst>
        </pc:spChg>
        <pc:spChg chg="add mod ord">
          <ac:chgData name="Siri Marie Aamodt" userId="91f91055-7576-44c0-87b5-30a6c57d9b33" providerId="ADAL" clId="{11323E36-8AE1-441C-96E8-0C044B4A3EDF}" dt="2024-03-13T18:13:18.909" v="3503" actId="20577"/>
          <ac:spMkLst>
            <pc:docMk/>
            <pc:sldMk cId="1794519138" sldId="329"/>
            <ac:spMk id="13" creationId="{52AA73A9-C231-759B-4278-C921ADA04085}"/>
          </ac:spMkLst>
        </pc:spChg>
        <pc:spChg chg="add mod ord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14" creationId="{F9ECE70A-3A43-53D8-F59E-5F2A9DBA1625}"/>
          </ac:spMkLst>
        </pc:spChg>
        <pc:spChg chg="add mod ord">
          <ac:chgData name="Siri Marie Aamodt" userId="91f91055-7576-44c0-87b5-30a6c57d9b33" providerId="ADAL" clId="{11323E36-8AE1-441C-96E8-0C044B4A3EDF}" dt="2024-03-13T18:13:04.157" v="3448" actId="700"/>
          <ac:spMkLst>
            <pc:docMk/>
            <pc:sldMk cId="1794519138" sldId="329"/>
            <ac:spMk id="15" creationId="{D1E87C7B-8270-53CB-54AD-52C9F01C2B71}"/>
          </ac:spMkLst>
        </pc:spChg>
      </pc:sldChg>
      <pc:sldChg chg="addSp modSp new mod setBg modClrScheme chgLayout">
        <pc:chgData name="Siri Marie Aamodt" userId="91f91055-7576-44c0-87b5-30a6c57d9b33" providerId="ADAL" clId="{11323E36-8AE1-441C-96E8-0C044B4A3EDF}" dt="2024-03-13T18:47:37.724" v="5400" actId="20577"/>
        <pc:sldMkLst>
          <pc:docMk/>
          <pc:sldMk cId="899926937" sldId="330"/>
        </pc:sldMkLst>
        <pc:spChg chg="mod ord">
          <ac:chgData name="Siri Marie Aamodt" userId="91f91055-7576-44c0-87b5-30a6c57d9b33" providerId="ADAL" clId="{11323E36-8AE1-441C-96E8-0C044B4A3EDF}" dt="2024-03-13T18:14:21.765" v="3578" actId="700"/>
          <ac:spMkLst>
            <pc:docMk/>
            <pc:sldMk cId="899926937" sldId="330"/>
            <ac:spMk id="2" creationId="{2CDB6833-1E58-285C-CC66-63E252AB94E6}"/>
          </ac:spMkLst>
        </pc:spChg>
        <pc:spChg chg="mod ord">
          <ac:chgData name="Siri Marie Aamodt" userId="91f91055-7576-44c0-87b5-30a6c57d9b33" providerId="ADAL" clId="{11323E36-8AE1-441C-96E8-0C044B4A3EDF}" dt="2024-03-13T18:14:21.765" v="3578" actId="700"/>
          <ac:spMkLst>
            <pc:docMk/>
            <pc:sldMk cId="899926937" sldId="330"/>
            <ac:spMk id="3" creationId="{7A835EC2-67E2-011D-EDDF-46E95485A576}"/>
          </ac:spMkLst>
        </pc:spChg>
        <pc:spChg chg="add mod ord">
          <ac:chgData name="Siri Marie Aamodt" userId="91f91055-7576-44c0-87b5-30a6c57d9b33" providerId="ADAL" clId="{11323E36-8AE1-441C-96E8-0C044B4A3EDF}" dt="2024-03-13T18:14:35.396" v="3632" actId="20577"/>
          <ac:spMkLst>
            <pc:docMk/>
            <pc:sldMk cId="899926937" sldId="330"/>
            <ac:spMk id="4" creationId="{7A69E931-3020-646D-3B16-9A009C3939A5}"/>
          </ac:spMkLst>
        </pc:spChg>
        <pc:spChg chg="add mod ord">
          <ac:chgData name="Siri Marie Aamodt" userId="91f91055-7576-44c0-87b5-30a6c57d9b33" providerId="ADAL" clId="{11323E36-8AE1-441C-96E8-0C044B4A3EDF}" dt="2024-03-13T18:47:37.724" v="5400" actId="20577"/>
          <ac:spMkLst>
            <pc:docMk/>
            <pc:sldMk cId="899926937" sldId="330"/>
            <ac:spMk id="5" creationId="{2CF3B2C8-5691-5343-4089-A760E5CE4F31}"/>
          </ac:spMkLst>
        </pc:spChg>
        <pc:spChg chg="add mod ord">
          <ac:chgData name="Siri Marie Aamodt" userId="91f91055-7576-44c0-87b5-30a6c57d9b33" providerId="ADAL" clId="{11323E36-8AE1-441C-96E8-0C044B4A3EDF}" dt="2024-03-13T18:14:21.765" v="3578" actId="700"/>
          <ac:spMkLst>
            <pc:docMk/>
            <pc:sldMk cId="899926937" sldId="330"/>
            <ac:spMk id="6" creationId="{E7C53489-7B23-CAB7-7EA2-73222D62F0D7}"/>
          </ac:spMkLst>
        </pc:spChg>
        <pc:spChg chg="add mod ord">
          <ac:chgData name="Siri Marie Aamodt" userId="91f91055-7576-44c0-87b5-30a6c57d9b33" providerId="ADAL" clId="{11323E36-8AE1-441C-96E8-0C044B4A3EDF}" dt="2024-03-13T18:14:21.765" v="3578" actId="700"/>
          <ac:spMkLst>
            <pc:docMk/>
            <pc:sldMk cId="899926937" sldId="330"/>
            <ac:spMk id="7" creationId="{28B07C13-3139-B1A5-44A1-2D9D485CD0A0}"/>
          </ac:spMkLst>
        </pc:spChg>
      </pc:sldChg>
      <pc:sldChg chg="addSp delSp modSp new mod modClrScheme chgLayout">
        <pc:chgData name="Siri Marie Aamodt" userId="91f91055-7576-44c0-87b5-30a6c57d9b33" providerId="ADAL" clId="{11323E36-8AE1-441C-96E8-0C044B4A3EDF}" dt="2024-03-13T18:29:30.792" v="4500" actId="20577"/>
        <pc:sldMkLst>
          <pc:docMk/>
          <pc:sldMk cId="540658825" sldId="331"/>
        </pc:sldMkLst>
        <pc:spChg chg="mod ord">
          <ac:chgData name="Siri Marie Aamodt" userId="91f91055-7576-44c0-87b5-30a6c57d9b33" providerId="ADAL" clId="{11323E36-8AE1-441C-96E8-0C044B4A3EDF}" dt="2024-03-13T18:24:16.743" v="4298" actId="700"/>
          <ac:spMkLst>
            <pc:docMk/>
            <pc:sldMk cId="540658825" sldId="331"/>
            <ac:spMk id="2" creationId="{4C970EA4-C717-EBD4-62F7-3C1C8D039735}"/>
          </ac:spMkLst>
        </pc:spChg>
        <pc:spChg chg="mod ord">
          <ac:chgData name="Siri Marie Aamodt" userId="91f91055-7576-44c0-87b5-30a6c57d9b33" providerId="ADAL" clId="{11323E36-8AE1-441C-96E8-0C044B4A3EDF}" dt="2024-03-13T18:24:16.743" v="4298" actId="700"/>
          <ac:spMkLst>
            <pc:docMk/>
            <pc:sldMk cId="540658825" sldId="331"/>
            <ac:spMk id="3" creationId="{053B3071-E793-E948-7624-8CBCE4CA335F}"/>
          </ac:spMkLst>
        </pc:spChg>
        <pc:spChg chg="del mod ord">
          <ac:chgData name="Siri Marie Aamodt" userId="91f91055-7576-44c0-87b5-30a6c57d9b33" providerId="ADAL" clId="{11323E36-8AE1-441C-96E8-0C044B4A3EDF}" dt="2024-03-13T18:24:16.743" v="4298" actId="700"/>
          <ac:spMkLst>
            <pc:docMk/>
            <pc:sldMk cId="540658825" sldId="331"/>
            <ac:spMk id="4" creationId="{08669F5D-3C52-8BB5-09B5-47AF1CB59E0E}"/>
          </ac:spMkLst>
        </pc:spChg>
        <pc:spChg chg="del mod ord">
          <ac:chgData name="Siri Marie Aamodt" userId="91f91055-7576-44c0-87b5-30a6c57d9b33" providerId="ADAL" clId="{11323E36-8AE1-441C-96E8-0C044B4A3EDF}" dt="2024-03-13T18:24:16.743" v="4298" actId="700"/>
          <ac:spMkLst>
            <pc:docMk/>
            <pc:sldMk cId="540658825" sldId="331"/>
            <ac:spMk id="5" creationId="{762ED88C-CAEA-C673-953D-DE3B9C9984BE}"/>
          </ac:spMkLst>
        </pc:spChg>
        <pc:spChg chg="add mod ord">
          <ac:chgData name="Siri Marie Aamodt" userId="91f91055-7576-44c0-87b5-30a6c57d9b33" providerId="ADAL" clId="{11323E36-8AE1-441C-96E8-0C044B4A3EDF}" dt="2024-03-13T18:29:30.792" v="4500" actId="20577"/>
          <ac:spMkLst>
            <pc:docMk/>
            <pc:sldMk cId="540658825" sldId="331"/>
            <ac:spMk id="6" creationId="{CC40006C-E236-2CDC-C4FA-5DC30E86CE32}"/>
          </ac:spMkLst>
        </pc:spChg>
        <pc:spChg chg="add mod ord">
          <ac:chgData name="Siri Marie Aamodt" userId="91f91055-7576-44c0-87b5-30a6c57d9b33" providerId="ADAL" clId="{11323E36-8AE1-441C-96E8-0C044B4A3EDF}" dt="2024-03-13T18:24:22.338" v="4310" actId="20577"/>
          <ac:spMkLst>
            <pc:docMk/>
            <pc:sldMk cId="540658825" sldId="331"/>
            <ac:spMk id="7" creationId="{A1611361-2911-3976-33B5-3A5EB13D65A5}"/>
          </ac:spMkLst>
        </pc:spChg>
        <pc:spChg chg="add mod ord">
          <ac:chgData name="Siri Marie Aamodt" userId="91f91055-7576-44c0-87b5-30a6c57d9b33" providerId="ADAL" clId="{11323E36-8AE1-441C-96E8-0C044B4A3EDF}" dt="2024-03-13T18:29:22.872" v="4478" actId="207"/>
          <ac:spMkLst>
            <pc:docMk/>
            <pc:sldMk cId="540658825" sldId="331"/>
            <ac:spMk id="8" creationId="{B088598D-2678-4F4C-2A05-1530EC60621F}"/>
          </ac:spMkLst>
        </pc:spChg>
        <pc:spChg chg="add mod ord">
          <ac:chgData name="Siri Marie Aamodt" userId="91f91055-7576-44c0-87b5-30a6c57d9b33" providerId="ADAL" clId="{11323E36-8AE1-441C-96E8-0C044B4A3EDF}" dt="2024-03-13T18:24:16.743" v="4298" actId="700"/>
          <ac:spMkLst>
            <pc:docMk/>
            <pc:sldMk cId="540658825" sldId="331"/>
            <ac:spMk id="9" creationId="{B07383EF-8553-AE9D-B8B0-CAD01F999DBC}"/>
          </ac:spMkLst>
        </pc:spChg>
      </pc:sldChg>
      <pc:sldChg chg="addSp delSp modSp new del mod modClrScheme chgLayout">
        <pc:chgData name="Siri Marie Aamodt" userId="91f91055-7576-44c0-87b5-30a6c57d9b33" providerId="ADAL" clId="{11323E36-8AE1-441C-96E8-0C044B4A3EDF}" dt="2024-03-14T08:29:03.323" v="5442" actId="47"/>
        <pc:sldMkLst>
          <pc:docMk/>
          <pc:sldMk cId="549954796" sldId="332"/>
        </pc:sldMkLst>
        <pc:spChg chg="del">
          <ac:chgData name="Siri Marie Aamodt" userId="91f91055-7576-44c0-87b5-30a6c57d9b33" providerId="ADAL" clId="{11323E36-8AE1-441C-96E8-0C044B4A3EDF}" dt="2024-03-14T08:28:31.088" v="5438" actId="700"/>
          <ac:spMkLst>
            <pc:docMk/>
            <pc:sldMk cId="549954796" sldId="332"/>
            <ac:spMk id="2" creationId="{97F8D19F-4F1D-9D9A-F02C-5A23BA5A523B}"/>
          </ac:spMkLst>
        </pc:spChg>
        <pc:spChg chg="mod ord">
          <ac:chgData name="Siri Marie Aamodt" userId="91f91055-7576-44c0-87b5-30a6c57d9b33" providerId="ADAL" clId="{11323E36-8AE1-441C-96E8-0C044B4A3EDF}" dt="2024-03-14T08:28:31.088" v="5438" actId="700"/>
          <ac:spMkLst>
            <pc:docMk/>
            <pc:sldMk cId="549954796" sldId="332"/>
            <ac:spMk id="3" creationId="{C1325169-C247-7DE9-8576-A59938DC6628}"/>
          </ac:spMkLst>
        </pc:spChg>
        <pc:spChg chg="del mod ord">
          <ac:chgData name="Siri Marie Aamodt" userId="91f91055-7576-44c0-87b5-30a6c57d9b33" providerId="ADAL" clId="{11323E36-8AE1-441C-96E8-0C044B4A3EDF}" dt="2024-03-14T08:28:31.088" v="5438" actId="700"/>
          <ac:spMkLst>
            <pc:docMk/>
            <pc:sldMk cId="549954796" sldId="332"/>
            <ac:spMk id="4" creationId="{39FA1969-DC9C-8533-9689-21BA94EF69E9}"/>
          </ac:spMkLst>
        </pc:spChg>
        <pc:spChg chg="del mod ord">
          <ac:chgData name="Siri Marie Aamodt" userId="91f91055-7576-44c0-87b5-30a6c57d9b33" providerId="ADAL" clId="{11323E36-8AE1-441C-96E8-0C044B4A3EDF}" dt="2024-03-14T08:28:31.088" v="5438" actId="700"/>
          <ac:spMkLst>
            <pc:docMk/>
            <pc:sldMk cId="549954796" sldId="332"/>
            <ac:spMk id="5" creationId="{3C5F1E94-4537-6E3A-264E-207AD524BD8E}"/>
          </ac:spMkLst>
        </pc:spChg>
        <pc:spChg chg="del mod ord">
          <ac:chgData name="Siri Marie Aamodt" userId="91f91055-7576-44c0-87b5-30a6c57d9b33" providerId="ADAL" clId="{11323E36-8AE1-441C-96E8-0C044B4A3EDF}" dt="2024-03-14T08:28:31.088" v="5438" actId="700"/>
          <ac:spMkLst>
            <pc:docMk/>
            <pc:sldMk cId="549954796" sldId="332"/>
            <ac:spMk id="6" creationId="{863FBD44-5864-DF43-D97E-63637575A4AE}"/>
          </ac:spMkLst>
        </pc:spChg>
        <pc:spChg chg="add mod ord">
          <ac:chgData name="Siri Marie Aamodt" userId="91f91055-7576-44c0-87b5-30a6c57d9b33" providerId="ADAL" clId="{11323E36-8AE1-441C-96E8-0C044B4A3EDF}" dt="2024-03-14T08:28:33.163" v="5441" actId="20577"/>
          <ac:spMkLst>
            <pc:docMk/>
            <pc:sldMk cId="549954796" sldId="332"/>
            <ac:spMk id="7" creationId="{025D9146-E7E2-9C4B-8F75-C1AE8FDB39AD}"/>
          </ac:spMkLst>
        </pc:spChg>
        <pc:spChg chg="add mod ord">
          <ac:chgData name="Siri Marie Aamodt" userId="91f91055-7576-44c0-87b5-30a6c57d9b33" providerId="ADAL" clId="{11323E36-8AE1-441C-96E8-0C044B4A3EDF}" dt="2024-03-14T08:28:31.088" v="5438" actId="700"/>
          <ac:spMkLst>
            <pc:docMk/>
            <pc:sldMk cId="549954796" sldId="332"/>
            <ac:spMk id="8" creationId="{85C1DB8B-325B-587B-8E54-C4D8FBCD6BAF}"/>
          </ac:spMkLst>
        </pc:spChg>
        <pc:spChg chg="add mod ord">
          <ac:chgData name="Siri Marie Aamodt" userId="91f91055-7576-44c0-87b5-30a6c57d9b33" providerId="ADAL" clId="{11323E36-8AE1-441C-96E8-0C044B4A3EDF}" dt="2024-03-14T08:28:31.088" v="5438" actId="700"/>
          <ac:spMkLst>
            <pc:docMk/>
            <pc:sldMk cId="549954796" sldId="332"/>
            <ac:spMk id="9" creationId="{56E3BD21-FD27-B9AB-B3DD-2966C8BB2977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256C91-3975-46C4-8E3D-A1374D489E7F}" type="doc">
      <dgm:prSet loTypeId="urn:microsoft.com/office/officeart/2005/8/layout/target1" loCatId="relationship" qsTypeId="urn:microsoft.com/office/officeart/2005/8/quickstyle/simple1" qsCatId="simple" csTypeId="urn:microsoft.com/office/officeart/2005/8/colors/accent0_1" csCatId="mainScheme" phldr="1"/>
      <dgm:spPr/>
    </dgm:pt>
    <dgm:pt modelId="{39E9B60A-F71C-4AE6-8A1B-A0C56C637307}">
      <dgm:prSet phldrT="[Text]" custT="1"/>
      <dgm:spPr/>
      <dgm:t>
        <a:bodyPr/>
        <a:lstStyle/>
        <a:p>
          <a:pPr marL="0"/>
          <a:r>
            <a:rPr lang="nb-NO" sz="1800" dirty="0">
              <a:latin typeface="Helvetica" panose="020B0604020202020204" pitchFamily="34" charset="0"/>
              <a:cs typeface="Helvetica" panose="020B0604020202020204" pitchFamily="34" charset="0"/>
            </a:rPr>
            <a:t>Kjernegruppe i fakultetsadministrasjonen</a:t>
          </a:r>
        </a:p>
      </dgm:t>
    </dgm:pt>
    <dgm:pt modelId="{B9DB5DAB-CC34-4BD7-8FDC-AFD77D5C6474}" type="parTrans" cxnId="{DEB1D5D6-0A7D-4573-BD8A-D208D19C8334}">
      <dgm:prSet/>
      <dgm:spPr/>
      <dgm:t>
        <a:bodyPr/>
        <a:lstStyle/>
        <a:p>
          <a:endParaRPr lang="nb-NO"/>
        </a:p>
      </dgm:t>
    </dgm:pt>
    <dgm:pt modelId="{D3B52C32-8557-4360-BA05-367A600BC4C0}" type="sibTrans" cxnId="{DEB1D5D6-0A7D-4573-BD8A-D208D19C8334}">
      <dgm:prSet/>
      <dgm:spPr/>
      <dgm:t>
        <a:bodyPr/>
        <a:lstStyle/>
        <a:p>
          <a:endParaRPr lang="nb-NO"/>
        </a:p>
      </dgm:t>
    </dgm:pt>
    <dgm:pt modelId="{F735A983-A856-40DE-8498-9A437FEED417}">
      <dgm:prSet phldrT="[Text]" custT="1"/>
      <dgm:spPr/>
      <dgm:t>
        <a:bodyPr/>
        <a:lstStyle/>
        <a:p>
          <a:r>
            <a:rPr lang="nb-NO" sz="1800" u="none" dirty="0">
              <a:latin typeface="Helvetica" panose="020B0604020202020204" pitchFamily="34" charset="0"/>
              <a:cs typeface="Helvetica" panose="020B0604020202020204" pitchFamily="34" charset="0"/>
            </a:rPr>
            <a:t>Læringskontaktnettverket</a:t>
          </a:r>
        </a:p>
      </dgm:t>
    </dgm:pt>
    <dgm:pt modelId="{C9025480-2804-495F-800D-3E4103E9DDF3}" type="parTrans" cxnId="{2007BFBB-CD5B-47B6-ABFC-5D9525BB1FB9}">
      <dgm:prSet/>
      <dgm:spPr/>
      <dgm:t>
        <a:bodyPr/>
        <a:lstStyle/>
        <a:p>
          <a:endParaRPr lang="nb-NO"/>
        </a:p>
      </dgm:t>
    </dgm:pt>
    <dgm:pt modelId="{1E6E793D-8DD7-4A4E-B8A2-A036A273CD51}" type="sibTrans" cxnId="{2007BFBB-CD5B-47B6-ABFC-5D9525BB1FB9}">
      <dgm:prSet/>
      <dgm:spPr/>
      <dgm:t>
        <a:bodyPr/>
        <a:lstStyle/>
        <a:p>
          <a:endParaRPr lang="nb-NO"/>
        </a:p>
      </dgm:t>
    </dgm:pt>
    <dgm:pt modelId="{EE9FF1E9-4D2C-4D05-B5FB-8208B28BA0CB}">
      <dgm:prSet phldrT="[Text]" custT="1"/>
      <dgm:spPr/>
      <dgm:t>
        <a:bodyPr/>
        <a:lstStyle/>
        <a:p>
          <a:r>
            <a:rPr lang="nb-NO" sz="1800" dirty="0">
              <a:latin typeface="Helvetica" panose="020B0604020202020204" pitchFamily="34" charset="0"/>
              <a:cs typeface="Helvetica" panose="020B0604020202020204" pitchFamily="34" charset="0"/>
            </a:rPr>
            <a:t>Nettverk og samarbeidspartnere</a:t>
          </a:r>
        </a:p>
      </dgm:t>
    </dgm:pt>
    <dgm:pt modelId="{D48E2277-BDCB-4DBE-A285-FD0A042285DE}" type="parTrans" cxnId="{6F1E4F5D-159D-416C-8952-457D959CC173}">
      <dgm:prSet/>
      <dgm:spPr/>
      <dgm:t>
        <a:bodyPr/>
        <a:lstStyle/>
        <a:p>
          <a:endParaRPr lang="nb-NO"/>
        </a:p>
      </dgm:t>
    </dgm:pt>
    <dgm:pt modelId="{3872EC05-9E6F-41E7-8D8A-D7CB870CE2FF}" type="sibTrans" cxnId="{6F1E4F5D-159D-416C-8952-457D959CC173}">
      <dgm:prSet/>
      <dgm:spPr/>
      <dgm:t>
        <a:bodyPr/>
        <a:lstStyle/>
        <a:p>
          <a:endParaRPr lang="nb-NO"/>
        </a:p>
      </dgm:t>
    </dgm:pt>
    <dgm:pt modelId="{0C77502D-470D-45C2-8EBE-C4E751FCF0A4}">
      <dgm:prSet custT="1"/>
      <dgm:spPr/>
      <dgm:t>
        <a:bodyPr/>
        <a:lstStyle/>
        <a:p>
          <a:pPr marL="90488" indent="-90488"/>
          <a:r>
            <a:rPr lang="nb-NO" sz="1400" dirty="0">
              <a:latin typeface="Helvetica" panose="020B0604020202020204" pitchFamily="34" charset="0"/>
              <a:cs typeface="Helvetica" panose="020B0604020202020204" pitchFamily="34" charset="0"/>
            </a:rPr>
            <a:t>Koordinator (100%)</a:t>
          </a:r>
        </a:p>
      </dgm:t>
    </dgm:pt>
    <dgm:pt modelId="{76834F6E-7062-40EA-B7DF-708407A3418A}" type="parTrans" cxnId="{0AA9EC1F-E674-4C59-877A-EE3DA2BD741E}">
      <dgm:prSet/>
      <dgm:spPr/>
      <dgm:t>
        <a:bodyPr/>
        <a:lstStyle/>
        <a:p>
          <a:endParaRPr lang="nb-NO"/>
        </a:p>
      </dgm:t>
    </dgm:pt>
    <dgm:pt modelId="{E13B331B-A889-4AB8-9924-82F983210901}" type="sibTrans" cxnId="{0AA9EC1F-E674-4C59-877A-EE3DA2BD741E}">
      <dgm:prSet/>
      <dgm:spPr/>
      <dgm:t>
        <a:bodyPr/>
        <a:lstStyle/>
        <a:p>
          <a:endParaRPr lang="nb-NO"/>
        </a:p>
      </dgm:t>
    </dgm:pt>
    <dgm:pt modelId="{90155881-AF97-46D9-97D8-5A3C85742310}">
      <dgm:prSet custT="1"/>
      <dgm:spPr/>
      <dgm:t>
        <a:bodyPr/>
        <a:lstStyle/>
        <a:p>
          <a:pPr marL="90488" indent="-90488"/>
          <a:r>
            <a:rPr lang="nb-NO" sz="1400" dirty="0">
              <a:latin typeface="Helvetica" panose="020B0604020202020204" pitchFamily="34" charset="0"/>
              <a:cs typeface="Helvetica" panose="020B0604020202020204" pitchFamily="34" charset="0"/>
            </a:rPr>
            <a:t>IT/AV-ansvarlig (50%)</a:t>
          </a:r>
        </a:p>
      </dgm:t>
    </dgm:pt>
    <dgm:pt modelId="{EC4EF2CE-8908-431D-B4D4-1D9743FD9D57}" type="parTrans" cxnId="{C11D9672-D1AD-468E-9395-CEF4B2345069}">
      <dgm:prSet/>
      <dgm:spPr/>
      <dgm:t>
        <a:bodyPr/>
        <a:lstStyle/>
        <a:p>
          <a:endParaRPr lang="nb-NO"/>
        </a:p>
      </dgm:t>
    </dgm:pt>
    <dgm:pt modelId="{33E5DF8F-674C-4164-85D2-E6619B2C2876}" type="sibTrans" cxnId="{C11D9672-D1AD-468E-9395-CEF4B2345069}">
      <dgm:prSet/>
      <dgm:spPr/>
      <dgm:t>
        <a:bodyPr/>
        <a:lstStyle/>
        <a:p>
          <a:endParaRPr lang="nb-NO"/>
        </a:p>
      </dgm:t>
    </dgm:pt>
    <dgm:pt modelId="{FF82B853-0BEE-4493-BC56-3B220119F49B}">
      <dgm:prSet custT="1"/>
      <dgm:spPr/>
      <dgm:t>
        <a:bodyPr/>
        <a:lstStyle/>
        <a:p>
          <a:pPr marL="90488" indent="-90488"/>
          <a:r>
            <a:rPr lang="nb-NO" sz="1400" dirty="0">
              <a:latin typeface="Helvetica" panose="020B0604020202020204" pitchFamily="34" charset="0"/>
              <a:cs typeface="Helvetica" panose="020B0604020202020204" pitchFamily="34" charset="0"/>
            </a:rPr>
            <a:t>Studentmedarbeidere i førstelinja</a:t>
          </a:r>
        </a:p>
      </dgm:t>
    </dgm:pt>
    <dgm:pt modelId="{C259D8D9-5B91-453C-AE32-55C146CC7295}" type="parTrans" cxnId="{08BAEEA5-4307-44EC-8E89-373714078568}">
      <dgm:prSet/>
      <dgm:spPr/>
      <dgm:t>
        <a:bodyPr/>
        <a:lstStyle/>
        <a:p>
          <a:endParaRPr lang="nb-NO"/>
        </a:p>
      </dgm:t>
    </dgm:pt>
    <dgm:pt modelId="{254747E6-8930-4718-B85B-A3778CE9EA56}" type="sibTrans" cxnId="{08BAEEA5-4307-44EC-8E89-373714078568}">
      <dgm:prSet/>
      <dgm:spPr/>
      <dgm:t>
        <a:bodyPr/>
        <a:lstStyle/>
        <a:p>
          <a:endParaRPr lang="nb-NO"/>
        </a:p>
      </dgm:t>
    </dgm:pt>
    <dgm:pt modelId="{92A8FD0F-7ED6-47B4-ABF7-65175DF80468}">
      <dgm:prSet custT="1"/>
      <dgm:spPr/>
      <dgm:t>
        <a:bodyPr/>
        <a:lstStyle/>
        <a:p>
          <a:r>
            <a:rPr lang="nb-NO" sz="1400" u="none" dirty="0">
              <a:latin typeface="Helvetica" panose="020B0604020202020204" pitchFamily="34" charset="0"/>
              <a:cs typeface="Helvetica" panose="020B0604020202020204" pitchFamily="34" charset="0"/>
            </a:rPr>
            <a:t>undervisere fra enhetene</a:t>
          </a:r>
        </a:p>
      </dgm:t>
    </dgm:pt>
    <dgm:pt modelId="{02AC7724-4489-408C-B480-3FF5EC6C8E59}" type="parTrans" cxnId="{16CC3C0E-0510-4813-ABF5-D49718785533}">
      <dgm:prSet/>
      <dgm:spPr/>
      <dgm:t>
        <a:bodyPr/>
        <a:lstStyle/>
        <a:p>
          <a:endParaRPr lang="nb-NO"/>
        </a:p>
      </dgm:t>
    </dgm:pt>
    <dgm:pt modelId="{E6522887-EDF7-4CAD-A1DE-3CADC262C3BE}" type="sibTrans" cxnId="{16CC3C0E-0510-4813-ABF5-D49718785533}">
      <dgm:prSet/>
      <dgm:spPr/>
      <dgm:t>
        <a:bodyPr/>
        <a:lstStyle/>
        <a:p>
          <a:endParaRPr lang="nb-NO"/>
        </a:p>
      </dgm:t>
    </dgm:pt>
    <dgm:pt modelId="{7A8F8A9C-ABAB-4506-97F8-2323E6650408}">
      <dgm:prSet custT="1"/>
      <dgm:spPr/>
      <dgm:t>
        <a:bodyPr/>
        <a:lstStyle/>
        <a:p>
          <a:r>
            <a:rPr lang="nb-NO" sz="1400" u="none" dirty="0">
              <a:latin typeface="Helvetica" panose="020B0604020202020204" pitchFamily="34" charset="0"/>
              <a:cs typeface="Helvetica" panose="020B0604020202020204" pitchFamily="34" charset="0"/>
            </a:rPr>
            <a:t>vitenskapelig assistenter</a:t>
          </a:r>
        </a:p>
      </dgm:t>
    </dgm:pt>
    <dgm:pt modelId="{BB477324-7D6D-49EE-BE54-FCBD0BCBD1D2}" type="parTrans" cxnId="{69CBA924-AA4E-4EDF-9E35-22747913BD81}">
      <dgm:prSet/>
      <dgm:spPr/>
      <dgm:t>
        <a:bodyPr/>
        <a:lstStyle/>
        <a:p>
          <a:endParaRPr lang="nb-NO"/>
        </a:p>
      </dgm:t>
    </dgm:pt>
    <dgm:pt modelId="{7F7F6AA5-5BF3-446D-9D3F-275686546489}" type="sibTrans" cxnId="{69CBA924-AA4E-4EDF-9E35-22747913BD81}">
      <dgm:prSet/>
      <dgm:spPr/>
      <dgm:t>
        <a:bodyPr/>
        <a:lstStyle/>
        <a:p>
          <a:endParaRPr lang="nb-NO"/>
        </a:p>
      </dgm:t>
    </dgm:pt>
    <dgm:pt modelId="{860314B4-19F2-48BE-9234-7A7020F61591}">
      <dgm:prSet custT="1"/>
      <dgm:spPr/>
      <dgm:t>
        <a:bodyPr/>
        <a:lstStyle/>
        <a:p>
          <a:r>
            <a:rPr lang="nb-NO" sz="1400" dirty="0">
              <a:latin typeface="Helvetica" panose="020B0604020202020204" pitchFamily="34" charset="0"/>
              <a:cs typeface="Helvetica" panose="020B0604020202020204" pitchFamily="34" charset="0"/>
            </a:rPr>
            <a:t>IT-avdelingen</a:t>
          </a:r>
        </a:p>
      </dgm:t>
    </dgm:pt>
    <dgm:pt modelId="{6324916F-229F-4CE4-9A8A-88F8D145F090}" type="parTrans" cxnId="{AF61C751-CDDB-47C4-86A0-6155B37CF95D}">
      <dgm:prSet/>
      <dgm:spPr/>
      <dgm:t>
        <a:bodyPr/>
        <a:lstStyle/>
        <a:p>
          <a:endParaRPr lang="nb-NO"/>
        </a:p>
      </dgm:t>
    </dgm:pt>
    <dgm:pt modelId="{D17493AA-922E-4B05-A17A-1301400F95E5}" type="sibTrans" cxnId="{AF61C751-CDDB-47C4-86A0-6155B37CF95D}">
      <dgm:prSet/>
      <dgm:spPr/>
      <dgm:t>
        <a:bodyPr/>
        <a:lstStyle/>
        <a:p>
          <a:endParaRPr lang="nb-NO"/>
        </a:p>
      </dgm:t>
    </dgm:pt>
    <dgm:pt modelId="{1E620928-31BB-4797-B80A-145BA91E8F6F}">
      <dgm:prSet custT="1"/>
      <dgm:spPr/>
      <dgm:t>
        <a:bodyPr/>
        <a:lstStyle/>
        <a:p>
          <a:r>
            <a:rPr lang="nb-NO" sz="1400" dirty="0">
              <a:latin typeface="Helvetica" panose="020B0604020202020204" pitchFamily="34" charset="0"/>
              <a:cs typeface="Helvetica" panose="020B0604020202020204" pitchFamily="34" charset="0"/>
            </a:rPr>
            <a:t>LINK</a:t>
          </a:r>
        </a:p>
      </dgm:t>
    </dgm:pt>
    <dgm:pt modelId="{52BF014F-B6C4-4CAB-A0E8-16FCE365E1C1}" type="parTrans" cxnId="{36836739-38BF-41FE-A59D-7553BF83838E}">
      <dgm:prSet/>
      <dgm:spPr/>
      <dgm:t>
        <a:bodyPr/>
        <a:lstStyle/>
        <a:p>
          <a:endParaRPr lang="nb-NO"/>
        </a:p>
      </dgm:t>
    </dgm:pt>
    <dgm:pt modelId="{EB3173A5-44A7-462C-9114-676AB6E12A04}" type="sibTrans" cxnId="{36836739-38BF-41FE-A59D-7553BF83838E}">
      <dgm:prSet/>
      <dgm:spPr/>
      <dgm:t>
        <a:bodyPr/>
        <a:lstStyle/>
        <a:p>
          <a:endParaRPr lang="nb-NO"/>
        </a:p>
      </dgm:t>
    </dgm:pt>
    <dgm:pt modelId="{5581B275-7CF8-4240-8000-1EA06353D75F}">
      <dgm:prSet custT="1"/>
      <dgm:spPr/>
      <dgm:t>
        <a:bodyPr/>
        <a:lstStyle/>
        <a:p>
          <a:r>
            <a:rPr lang="nb-NO" sz="1400" dirty="0">
              <a:latin typeface="Helvetica" panose="020B0604020202020204" pitchFamily="34" charset="0"/>
              <a:cs typeface="Helvetica" panose="020B0604020202020204" pitchFamily="34" charset="0"/>
            </a:rPr>
            <a:t>pedagogiske støtteenheter</a:t>
          </a:r>
        </a:p>
      </dgm:t>
    </dgm:pt>
    <dgm:pt modelId="{209E2A27-E00F-4124-8766-A5061E7B7E06}" type="parTrans" cxnId="{69E1A5CE-3952-4024-8C01-D506C1484AF5}">
      <dgm:prSet/>
      <dgm:spPr/>
      <dgm:t>
        <a:bodyPr/>
        <a:lstStyle/>
        <a:p>
          <a:endParaRPr lang="nb-NO"/>
        </a:p>
      </dgm:t>
    </dgm:pt>
    <dgm:pt modelId="{0EBD1887-1A91-4E08-854A-D132E5AF5C2E}" type="sibTrans" cxnId="{69E1A5CE-3952-4024-8C01-D506C1484AF5}">
      <dgm:prSet/>
      <dgm:spPr/>
      <dgm:t>
        <a:bodyPr/>
        <a:lstStyle/>
        <a:p>
          <a:endParaRPr lang="nb-NO"/>
        </a:p>
      </dgm:t>
    </dgm:pt>
    <dgm:pt modelId="{7CF5FBDA-5B78-4687-A991-4E7D78865AD4}" type="pres">
      <dgm:prSet presAssocID="{66256C91-3975-46C4-8E3D-A1374D489E7F}" presName="composite" presStyleCnt="0">
        <dgm:presLayoutVars>
          <dgm:chMax val="5"/>
          <dgm:dir/>
          <dgm:resizeHandles val="exact"/>
        </dgm:presLayoutVars>
      </dgm:prSet>
      <dgm:spPr/>
    </dgm:pt>
    <dgm:pt modelId="{F6F4E7AF-4A29-47F7-A839-78ACC447B156}" type="pres">
      <dgm:prSet presAssocID="{39E9B60A-F71C-4AE6-8A1B-A0C56C637307}" presName="circle1" presStyleLbl="lnNode1" presStyleIdx="0" presStyleCnt="3"/>
      <dgm:spPr>
        <a:solidFill>
          <a:srgbClr val="EAF9F3"/>
        </a:solidFill>
        <a:ln>
          <a:noFill/>
        </a:ln>
      </dgm:spPr>
    </dgm:pt>
    <dgm:pt modelId="{15D5819E-247B-46CE-B637-D13FB4E5C0B9}" type="pres">
      <dgm:prSet presAssocID="{39E9B60A-F71C-4AE6-8A1B-A0C56C637307}" presName="text1" presStyleLbl="revTx" presStyleIdx="0" presStyleCnt="3" custScaleX="168884" custLinFactNeighborX="34501" custLinFactNeighborY="8604">
        <dgm:presLayoutVars>
          <dgm:bulletEnabled val="1"/>
        </dgm:presLayoutVars>
      </dgm:prSet>
      <dgm:spPr/>
    </dgm:pt>
    <dgm:pt modelId="{5106173B-13F5-4FA1-89D7-B037B53675B7}" type="pres">
      <dgm:prSet presAssocID="{39E9B60A-F71C-4AE6-8A1B-A0C56C637307}" presName="line1" presStyleLbl="callout" presStyleIdx="0" presStyleCnt="6"/>
      <dgm:spPr/>
    </dgm:pt>
    <dgm:pt modelId="{2A9BB3DA-0F89-467E-A097-11C5D89E44DF}" type="pres">
      <dgm:prSet presAssocID="{39E9B60A-F71C-4AE6-8A1B-A0C56C637307}" presName="d1" presStyleLbl="callout" presStyleIdx="1" presStyleCnt="6"/>
      <dgm:spPr/>
    </dgm:pt>
    <dgm:pt modelId="{143F5B44-37A6-43CA-BEF5-FEE5E6F50FA4}" type="pres">
      <dgm:prSet presAssocID="{F735A983-A856-40DE-8498-9A437FEED417}" presName="circle2" presStyleLbl="lnNode1" presStyleIdx="1" presStyleCnt="3"/>
      <dgm:spPr>
        <a:solidFill>
          <a:srgbClr val="6CE1AB"/>
        </a:solidFill>
        <a:ln>
          <a:noFill/>
        </a:ln>
      </dgm:spPr>
    </dgm:pt>
    <dgm:pt modelId="{3A3585E2-6405-4D1D-822F-0C554AF0517B}" type="pres">
      <dgm:prSet presAssocID="{F735A983-A856-40DE-8498-9A437FEED417}" presName="text2" presStyleLbl="revTx" presStyleIdx="1" presStyleCnt="3" custScaleX="144884" custScaleY="66803" custLinFactNeighborX="21452" custLinFactNeighborY="2462">
        <dgm:presLayoutVars>
          <dgm:bulletEnabled val="1"/>
        </dgm:presLayoutVars>
      </dgm:prSet>
      <dgm:spPr/>
    </dgm:pt>
    <dgm:pt modelId="{AAF98C98-719F-40DA-BAA8-7417A8357E3A}" type="pres">
      <dgm:prSet presAssocID="{F735A983-A856-40DE-8498-9A437FEED417}" presName="line2" presStyleLbl="callout" presStyleIdx="2" presStyleCnt="6"/>
      <dgm:spPr/>
    </dgm:pt>
    <dgm:pt modelId="{CC23758F-5341-44EE-B03C-596651CB8EEE}" type="pres">
      <dgm:prSet presAssocID="{F735A983-A856-40DE-8498-9A437FEED417}" presName="d2" presStyleLbl="callout" presStyleIdx="3" presStyleCnt="6"/>
      <dgm:spPr/>
    </dgm:pt>
    <dgm:pt modelId="{76BF6263-F27C-4B9D-B415-70D4F32E54A3}" type="pres">
      <dgm:prSet presAssocID="{EE9FF1E9-4D2C-4D05-B5FB-8208B28BA0CB}" presName="circle3" presStyleLbl="lnNode1" presStyleIdx="2" presStyleCnt="3"/>
      <dgm:spPr>
        <a:solidFill>
          <a:srgbClr val="86A4F7"/>
        </a:solidFill>
        <a:ln>
          <a:noFill/>
        </a:ln>
      </dgm:spPr>
    </dgm:pt>
    <dgm:pt modelId="{4BDC6E6D-A11F-47D8-BA6E-47466F8EA7C7}" type="pres">
      <dgm:prSet presAssocID="{EE9FF1E9-4D2C-4D05-B5FB-8208B28BA0CB}" presName="text3" presStyleLbl="revTx" presStyleIdx="2" presStyleCnt="3" custScaleX="125836" custScaleY="114783" custLinFactNeighborX="17609" custLinFactNeighborY="2515">
        <dgm:presLayoutVars>
          <dgm:bulletEnabled val="1"/>
        </dgm:presLayoutVars>
      </dgm:prSet>
      <dgm:spPr/>
    </dgm:pt>
    <dgm:pt modelId="{45C614D8-B62D-4DE9-808A-614083289EB0}" type="pres">
      <dgm:prSet presAssocID="{EE9FF1E9-4D2C-4D05-B5FB-8208B28BA0CB}" presName="line3" presStyleLbl="callout" presStyleIdx="4" presStyleCnt="6"/>
      <dgm:spPr/>
    </dgm:pt>
    <dgm:pt modelId="{87473DCC-7004-4298-BC9C-7F07FE148320}" type="pres">
      <dgm:prSet presAssocID="{EE9FF1E9-4D2C-4D05-B5FB-8208B28BA0CB}" presName="d3" presStyleLbl="callout" presStyleIdx="5" presStyleCnt="6"/>
      <dgm:spPr/>
    </dgm:pt>
  </dgm:ptLst>
  <dgm:cxnLst>
    <dgm:cxn modelId="{16CC3C0E-0510-4813-ABF5-D49718785533}" srcId="{F735A983-A856-40DE-8498-9A437FEED417}" destId="{92A8FD0F-7ED6-47B4-ABF7-65175DF80468}" srcOrd="0" destOrd="0" parTransId="{02AC7724-4489-408C-B480-3FF5EC6C8E59}" sibTransId="{E6522887-EDF7-4CAD-A1DE-3CADC262C3BE}"/>
    <dgm:cxn modelId="{D6CE380F-5C95-439A-8A81-BD2D03141E0A}" type="presOf" srcId="{7A8F8A9C-ABAB-4506-97F8-2323E6650408}" destId="{3A3585E2-6405-4D1D-822F-0C554AF0517B}" srcOrd="0" destOrd="2" presId="urn:microsoft.com/office/officeart/2005/8/layout/target1"/>
    <dgm:cxn modelId="{6E3A9015-EFE5-4C1D-BDDC-307ED9BDC475}" type="presOf" srcId="{90155881-AF97-46D9-97D8-5A3C85742310}" destId="{15D5819E-247B-46CE-B637-D13FB4E5C0B9}" srcOrd="0" destOrd="2" presId="urn:microsoft.com/office/officeart/2005/8/layout/target1"/>
    <dgm:cxn modelId="{0AA9EC1F-E674-4C59-877A-EE3DA2BD741E}" srcId="{39E9B60A-F71C-4AE6-8A1B-A0C56C637307}" destId="{0C77502D-470D-45C2-8EBE-C4E751FCF0A4}" srcOrd="0" destOrd="0" parTransId="{76834F6E-7062-40EA-B7DF-708407A3418A}" sibTransId="{E13B331B-A889-4AB8-9924-82F983210901}"/>
    <dgm:cxn modelId="{69CBA924-AA4E-4EDF-9E35-22747913BD81}" srcId="{F735A983-A856-40DE-8498-9A437FEED417}" destId="{7A8F8A9C-ABAB-4506-97F8-2323E6650408}" srcOrd="1" destOrd="0" parTransId="{BB477324-7D6D-49EE-BE54-FCBD0BCBD1D2}" sibTransId="{7F7F6AA5-5BF3-446D-9D3F-275686546489}"/>
    <dgm:cxn modelId="{D300E133-7912-40AB-A7EC-2CA110DB0331}" type="presOf" srcId="{0C77502D-470D-45C2-8EBE-C4E751FCF0A4}" destId="{15D5819E-247B-46CE-B637-D13FB4E5C0B9}" srcOrd="0" destOrd="1" presId="urn:microsoft.com/office/officeart/2005/8/layout/target1"/>
    <dgm:cxn modelId="{36836739-38BF-41FE-A59D-7553BF83838E}" srcId="{EE9FF1E9-4D2C-4D05-B5FB-8208B28BA0CB}" destId="{1E620928-31BB-4797-B80A-145BA91E8F6F}" srcOrd="1" destOrd="0" parTransId="{52BF014F-B6C4-4CAB-A0E8-16FCE365E1C1}" sibTransId="{EB3173A5-44A7-462C-9114-676AB6E12A04}"/>
    <dgm:cxn modelId="{CE5C3E5C-A6E9-4475-86AA-1584E1E54DB7}" type="presOf" srcId="{39E9B60A-F71C-4AE6-8A1B-A0C56C637307}" destId="{15D5819E-247B-46CE-B637-D13FB4E5C0B9}" srcOrd="0" destOrd="0" presId="urn:microsoft.com/office/officeart/2005/8/layout/target1"/>
    <dgm:cxn modelId="{6F1E4F5D-159D-416C-8952-457D959CC173}" srcId="{66256C91-3975-46C4-8E3D-A1374D489E7F}" destId="{EE9FF1E9-4D2C-4D05-B5FB-8208B28BA0CB}" srcOrd="2" destOrd="0" parTransId="{D48E2277-BDCB-4DBE-A285-FD0A042285DE}" sibTransId="{3872EC05-9E6F-41E7-8D8A-D7CB870CE2FF}"/>
    <dgm:cxn modelId="{62594A4A-0B64-429B-A5D9-3E397EA140D7}" type="presOf" srcId="{FF82B853-0BEE-4493-BC56-3B220119F49B}" destId="{15D5819E-247B-46CE-B637-D13FB4E5C0B9}" srcOrd="0" destOrd="3" presId="urn:microsoft.com/office/officeart/2005/8/layout/target1"/>
    <dgm:cxn modelId="{AF61C751-CDDB-47C4-86A0-6155B37CF95D}" srcId="{EE9FF1E9-4D2C-4D05-B5FB-8208B28BA0CB}" destId="{860314B4-19F2-48BE-9234-7A7020F61591}" srcOrd="0" destOrd="0" parTransId="{6324916F-229F-4CE4-9A8A-88F8D145F090}" sibTransId="{D17493AA-922E-4B05-A17A-1301400F95E5}"/>
    <dgm:cxn modelId="{C11D9672-D1AD-468E-9395-CEF4B2345069}" srcId="{39E9B60A-F71C-4AE6-8A1B-A0C56C637307}" destId="{90155881-AF97-46D9-97D8-5A3C85742310}" srcOrd="1" destOrd="0" parTransId="{EC4EF2CE-8908-431D-B4D4-1D9743FD9D57}" sibTransId="{33E5DF8F-674C-4164-85D2-E6619B2C2876}"/>
    <dgm:cxn modelId="{B5D57D7B-5EC5-4965-A858-5AECED15CF56}" type="presOf" srcId="{5581B275-7CF8-4240-8000-1EA06353D75F}" destId="{4BDC6E6D-A11F-47D8-BA6E-47466F8EA7C7}" srcOrd="0" destOrd="3" presId="urn:microsoft.com/office/officeart/2005/8/layout/target1"/>
    <dgm:cxn modelId="{08BAEEA5-4307-44EC-8E89-373714078568}" srcId="{39E9B60A-F71C-4AE6-8A1B-A0C56C637307}" destId="{FF82B853-0BEE-4493-BC56-3B220119F49B}" srcOrd="2" destOrd="0" parTransId="{C259D8D9-5B91-453C-AE32-55C146CC7295}" sibTransId="{254747E6-8930-4718-B85B-A3778CE9EA56}"/>
    <dgm:cxn modelId="{701B62A9-705F-4202-8B81-4EDEA9D12943}" type="presOf" srcId="{F735A983-A856-40DE-8498-9A437FEED417}" destId="{3A3585E2-6405-4D1D-822F-0C554AF0517B}" srcOrd="0" destOrd="0" presId="urn:microsoft.com/office/officeart/2005/8/layout/target1"/>
    <dgm:cxn modelId="{0AE7EDAD-F21B-4361-8AB2-06B9960DA419}" type="presOf" srcId="{92A8FD0F-7ED6-47B4-ABF7-65175DF80468}" destId="{3A3585E2-6405-4D1D-822F-0C554AF0517B}" srcOrd="0" destOrd="1" presId="urn:microsoft.com/office/officeart/2005/8/layout/target1"/>
    <dgm:cxn modelId="{CB6DABB0-5C97-4C75-B403-1265377786E0}" type="presOf" srcId="{EE9FF1E9-4D2C-4D05-B5FB-8208B28BA0CB}" destId="{4BDC6E6D-A11F-47D8-BA6E-47466F8EA7C7}" srcOrd="0" destOrd="0" presId="urn:microsoft.com/office/officeart/2005/8/layout/target1"/>
    <dgm:cxn modelId="{2007BFBB-CD5B-47B6-ABFC-5D9525BB1FB9}" srcId="{66256C91-3975-46C4-8E3D-A1374D489E7F}" destId="{F735A983-A856-40DE-8498-9A437FEED417}" srcOrd="1" destOrd="0" parTransId="{C9025480-2804-495F-800D-3E4103E9DDF3}" sibTransId="{1E6E793D-8DD7-4A4E-B8A2-A036A273CD51}"/>
    <dgm:cxn modelId="{D4858BBD-40EE-4194-963E-45337C0A35BE}" type="presOf" srcId="{1E620928-31BB-4797-B80A-145BA91E8F6F}" destId="{4BDC6E6D-A11F-47D8-BA6E-47466F8EA7C7}" srcOrd="0" destOrd="2" presId="urn:microsoft.com/office/officeart/2005/8/layout/target1"/>
    <dgm:cxn modelId="{69E1A5CE-3952-4024-8C01-D506C1484AF5}" srcId="{EE9FF1E9-4D2C-4D05-B5FB-8208B28BA0CB}" destId="{5581B275-7CF8-4240-8000-1EA06353D75F}" srcOrd="2" destOrd="0" parTransId="{209E2A27-E00F-4124-8766-A5061E7B7E06}" sibTransId="{0EBD1887-1A91-4E08-854A-D132E5AF5C2E}"/>
    <dgm:cxn modelId="{DEB1D5D6-0A7D-4573-BD8A-D208D19C8334}" srcId="{66256C91-3975-46C4-8E3D-A1374D489E7F}" destId="{39E9B60A-F71C-4AE6-8A1B-A0C56C637307}" srcOrd="0" destOrd="0" parTransId="{B9DB5DAB-CC34-4BD7-8FDC-AFD77D5C6474}" sibTransId="{D3B52C32-8557-4360-BA05-367A600BC4C0}"/>
    <dgm:cxn modelId="{782D8CD9-0423-4F89-883D-C919B39A6AEF}" type="presOf" srcId="{860314B4-19F2-48BE-9234-7A7020F61591}" destId="{4BDC6E6D-A11F-47D8-BA6E-47466F8EA7C7}" srcOrd="0" destOrd="1" presId="urn:microsoft.com/office/officeart/2005/8/layout/target1"/>
    <dgm:cxn modelId="{ED536BF2-BC00-4D99-8893-CFB3001F9470}" type="presOf" srcId="{66256C91-3975-46C4-8E3D-A1374D489E7F}" destId="{7CF5FBDA-5B78-4687-A991-4E7D78865AD4}" srcOrd="0" destOrd="0" presId="urn:microsoft.com/office/officeart/2005/8/layout/target1"/>
    <dgm:cxn modelId="{2C6B9653-9B7B-4BBF-98F7-069E5137D852}" type="presParOf" srcId="{7CF5FBDA-5B78-4687-A991-4E7D78865AD4}" destId="{F6F4E7AF-4A29-47F7-A839-78ACC447B156}" srcOrd="0" destOrd="0" presId="urn:microsoft.com/office/officeart/2005/8/layout/target1"/>
    <dgm:cxn modelId="{BF83AD88-4227-4AEB-8296-C38DFDEA8FF7}" type="presParOf" srcId="{7CF5FBDA-5B78-4687-A991-4E7D78865AD4}" destId="{15D5819E-247B-46CE-B637-D13FB4E5C0B9}" srcOrd="1" destOrd="0" presId="urn:microsoft.com/office/officeart/2005/8/layout/target1"/>
    <dgm:cxn modelId="{FDF235ED-E574-407D-A7B4-7F04BC9040E4}" type="presParOf" srcId="{7CF5FBDA-5B78-4687-A991-4E7D78865AD4}" destId="{5106173B-13F5-4FA1-89D7-B037B53675B7}" srcOrd="2" destOrd="0" presId="urn:microsoft.com/office/officeart/2005/8/layout/target1"/>
    <dgm:cxn modelId="{D1D0D8AA-2BF0-4DDE-9418-1AD99E66CB6B}" type="presParOf" srcId="{7CF5FBDA-5B78-4687-A991-4E7D78865AD4}" destId="{2A9BB3DA-0F89-467E-A097-11C5D89E44DF}" srcOrd="3" destOrd="0" presId="urn:microsoft.com/office/officeart/2005/8/layout/target1"/>
    <dgm:cxn modelId="{21EDDE23-8C68-473A-A7BF-A5A55D4F1082}" type="presParOf" srcId="{7CF5FBDA-5B78-4687-A991-4E7D78865AD4}" destId="{143F5B44-37A6-43CA-BEF5-FEE5E6F50FA4}" srcOrd="4" destOrd="0" presId="urn:microsoft.com/office/officeart/2005/8/layout/target1"/>
    <dgm:cxn modelId="{037D8BA2-5FEB-4464-8A91-42215E265859}" type="presParOf" srcId="{7CF5FBDA-5B78-4687-A991-4E7D78865AD4}" destId="{3A3585E2-6405-4D1D-822F-0C554AF0517B}" srcOrd="5" destOrd="0" presId="urn:microsoft.com/office/officeart/2005/8/layout/target1"/>
    <dgm:cxn modelId="{E8B7B4C5-AF50-4483-B8DB-009AF7DC8042}" type="presParOf" srcId="{7CF5FBDA-5B78-4687-A991-4E7D78865AD4}" destId="{AAF98C98-719F-40DA-BAA8-7417A8357E3A}" srcOrd="6" destOrd="0" presId="urn:microsoft.com/office/officeart/2005/8/layout/target1"/>
    <dgm:cxn modelId="{3553BEA9-DAB9-4D53-B902-0CB9E2C5A6EC}" type="presParOf" srcId="{7CF5FBDA-5B78-4687-A991-4E7D78865AD4}" destId="{CC23758F-5341-44EE-B03C-596651CB8EEE}" srcOrd="7" destOrd="0" presId="urn:microsoft.com/office/officeart/2005/8/layout/target1"/>
    <dgm:cxn modelId="{CBBD8C84-3943-4301-AD7E-342CFFAE00BA}" type="presParOf" srcId="{7CF5FBDA-5B78-4687-A991-4E7D78865AD4}" destId="{76BF6263-F27C-4B9D-B415-70D4F32E54A3}" srcOrd="8" destOrd="0" presId="urn:microsoft.com/office/officeart/2005/8/layout/target1"/>
    <dgm:cxn modelId="{D0C99ADF-BB65-47DD-BB38-87529855E0A3}" type="presParOf" srcId="{7CF5FBDA-5B78-4687-A991-4E7D78865AD4}" destId="{4BDC6E6D-A11F-47D8-BA6E-47466F8EA7C7}" srcOrd="9" destOrd="0" presId="urn:microsoft.com/office/officeart/2005/8/layout/target1"/>
    <dgm:cxn modelId="{DA4B37EF-F496-4EC8-BEF7-9C4BCF87E56F}" type="presParOf" srcId="{7CF5FBDA-5B78-4687-A991-4E7D78865AD4}" destId="{45C614D8-B62D-4DE9-808A-614083289EB0}" srcOrd="10" destOrd="0" presId="urn:microsoft.com/office/officeart/2005/8/layout/target1"/>
    <dgm:cxn modelId="{81B0E2E1-8C60-4978-8A50-D84B81DE4892}" type="presParOf" srcId="{7CF5FBDA-5B78-4687-A991-4E7D78865AD4}" destId="{87473DCC-7004-4298-BC9C-7F07FE148320}" srcOrd="11" destOrd="0" presId="urn:microsoft.com/office/officeart/2005/8/layout/targe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CC6E84-8481-42B9-9835-39D5E76553F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6A5BFBBC-227E-456E-9054-40EEF07989B9}">
      <dgm:prSet phldrT="[Text]"/>
      <dgm:spPr>
        <a:solidFill>
          <a:srgbClr val="EAF9F3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latin typeface="+mj-lt"/>
            </a:rPr>
            <a:t>Pedagogisk kompetanse</a:t>
          </a:r>
        </a:p>
      </dgm:t>
    </dgm:pt>
    <dgm:pt modelId="{3C1BE71D-7019-426A-BF15-C9CD36B7272C}" type="parTrans" cxnId="{4B28347D-1E69-47C7-BE3B-62E8BD6E5C8C}">
      <dgm:prSet/>
      <dgm:spPr/>
      <dgm:t>
        <a:bodyPr/>
        <a:lstStyle/>
        <a:p>
          <a:endParaRPr lang="nb-NO"/>
        </a:p>
      </dgm:t>
    </dgm:pt>
    <dgm:pt modelId="{2F81BA99-2FF3-4EE4-8F12-927BA5B397CB}" type="sibTrans" cxnId="{4B28347D-1E69-47C7-BE3B-62E8BD6E5C8C}">
      <dgm:prSet/>
      <dgm:spPr/>
      <dgm:t>
        <a:bodyPr/>
        <a:lstStyle/>
        <a:p>
          <a:endParaRPr lang="nb-NO"/>
        </a:p>
      </dgm:t>
    </dgm:pt>
    <dgm:pt modelId="{34F4DE22-50D0-403A-957E-AACFFE6624EE}">
      <dgm:prSet phldrT="[Text]"/>
      <dgm:spPr>
        <a:solidFill>
          <a:srgbClr val="584BF0"/>
        </a:solidFill>
      </dgm:spPr>
      <dgm:t>
        <a:bodyPr/>
        <a:lstStyle/>
        <a:p>
          <a:r>
            <a:rPr lang="nb-NO" dirty="0">
              <a:solidFill>
                <a:schemeClr val="bg1"/>
              </a:solidFill>
              <a:latin typeface="+mj-lt"/>
            </a:rPr>
            <a:t>Teknisk kompetanse</a:t>
          </a:r>
        </a:p>
      </dgm:t>
    </dgm:pt>
    <dgm:pt modelId="{883A884E-9A75-450B-BF04-75B732D3F436}" type="parTrans" cxnId="{DAB7E592-6EF2-4512-8CEA-90EAEC77AE14}">
      <dgm:prSet/>
      <dgm:spPr/>
      <dgm:t>
        <a:bodyPr/>
        <a:lstStyle/>
        <a:p>
          <a:endParaRPr lang="nb-NO"/>
        </a:p>
      </dgm:t>
    </dgm:pt>
    <dgm:pt modelId="{2D03D8D1-54B6-4916-B3BC-F839A394197E}" type="sibTrans" cxnId="{DAB7E592-6EF2-4512-8CEA-90EAEC77AE14}">
      <dgm:prSet/>
      <dgm:spPr/>
      <dgm:t>
        <a:bodyPr/>
        <a:lstStyle/>
        <a:p>
          <a:endParaRPr lang="nb-NO"/>
        </a:p>
      </dgm:t>
    </dgm:pt>
    <dgm:pt modelId="{2EB30ED5-A029-4209-A483-AE43E6F5F47E}">
      <dgm:prSet phldrT="[Text]"/>
      <dgm:spPr>
        <a:solidFill>
          <a:srgbClr val="86A4F7"/>
        </a:solidFill>
      </dgm:spPr>
      <dgm:t>
        <a:bodyPr/>
        <a:lstStyle/>
        <a:p>
          <a:r>
            <a:rPr lang="nb-NO" dirty="0" err="1">
              <a:solidFill>
                <a:schemeClr val="tx1"/>
              </a:solidFill>
              <a:latin typeface="+mj-lt"/>
            </a:rPr>
            <a:t>Bestillerkompetanse</a:t>
          </a:r>
          <a:endParaRPr lang="nb-NO" dirty="0">
            <a:solidFill>
              <a:schemeClr val="tx1"/>
            </a:solidFill>
            <a:latin typeface="+mj-lt"/>
          </a:endParaRPr>
        </a:p>
      </dgm:t>
    </dgm:pt>
    <dgm:pt modelId="{B3082DAE-08F8-4B13-8D5D-F81AF5DD1B54}" type="parTrans" cxnId="{E1032161-D352-4B13-B28A-CF1EB5CC512D}">
      <dgm:prSet/>
      <dgm:spPr/>
      <dgm:t>
        <a:bodyPr/>
        <a:lstStyle/>
        <a:p>
          <a:endParaRPr lang="nb-NO"/>
        </a:p>
      </dgm:t>
    </dgm:pt>
    <dgm:pt modelId="{6F458A4E-DCB4-404E-A58B-1D484264EE30}" type="sibTrans" cxnId="{E1032161-D352-4B13-B28A-CF1EB5CC512D}">
      <dgm:prSet/>
      <dgm:spPr/>
      <dgm:t>
        <a:bodyPr/>
        <a:lstStyle/>
        <a:p>
          <a:endParaRPr lang="nb-NO"/>
        </a:p>
      </dgm:t>
    </dgm:pt>
    <dgm:pt modelId="{7C0A191F-6E5F-4985-B584-D8848663A169}">
      <dgm:prSet phldrT="[Text]"/>
      <dgm:spPr>
        <a:solidFill>
          <a:srgbClr val="6CE1AB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latin typeface="+mj-lt"/>
            </a:rPr>
            <a:t>Koordinerende rolle</a:t>
          </a:r>
        </a:p>
      </dgm:t>
    </dgm:pt>
    <dgm:pt modelId="{F06CDAC9-AB47-4008-9967-DA9B4AF92FDB}" type="parTrans" cxnId="{32FA087F-F7C0-4E49-ADF9-69FCE4F39D60}">
      <dgm:prSet/>
      <dgm:spPr/>
      <dgm:t>
        <a:bodyPr/>
        <a:lstStyle/>
        <a:p>
          <a:endParaRPr lang="nb-NO"/>
        </a:p>
      </dgm:t>
    </dgm:pt>
    <dgm:pt modelId="{5254E12E-C6F4-420D-BE59-2B0D3A9B5545}" type="sibTrans" cxnId="{32FA087F-F7C0-4E49-ADF9-69FCE4F39D60}">
      <dgm:prSet/>
      <dgm:spPr/>
      <dgm:t>
        <a:bodyPr/>
        <a:lstStyle/>
        <a:p>
          <a:endParaRPr lang="nb-NO"/>
        </a:p>
      </dgm:t>
    </dgm:pt>
    <dgm:pt modelId="{E655D987-6DBE-4230-A990-388B7524C2D3}">
      <dgm:prSet phldrT="[Text]"/>
      <dgm:spPr>
        <a:solidFill>
          <a:srgbClr val="EAF9F3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latin typeface="+mj-lt"/>
              <a:ea typeface="Times New Roman" panose="02020603050405020304" pitchFamily="18" charset="0"/>
              <a:cs typeface="Times New Roman" panose="02020603050405020304" pitchFamily="18" charset="0"/>
            </a:rPr>
            <a:t>Kurs/opplæring: både faste tilbud og etter behov</a:t>
          </a:r>
          <a:endParaRPr lang="nb-NO" dirty="0">
            <a:solidFill>
              <a:schemeClr val="tx1"/>
            </a:solidFill>
            <a:latin typeface="+mj-lt"/>
          </a:endParaRPr>
        </a:p>
      </dgm:t>
    </dgm:pt>
    <dgm:pt modelId="{A0F0B707-4586-48D1-88C7-012C643206C0}" type="parTrans" cxnId="{16E408AA-A2DD-4562-B0DA-75B291B9EF2E}">
      <dgm:prSet/>
      <dgm:spPr/>
      <dgm:t>
        <a:bodyPr/>
        <a:lstStyle/>
        <a:p>
          <a:endParaRPr lang="nb-NO"/>
        </a:p>
      </dgm:t>
    </dgm:pt>
    <dgm:pt modelId="{570B2F0B-83B0-436D-BD40-F9C4F8737777}" type="sibTrans" cxnId="{16E408AA-A2DD-4562-B0DA-75B291B9EF2E}">
      <dgm:prSet/>
      <dgm:spPr/>
      <dgm:t>
        <a:bodyPr/>
        <a:lstStyle/>
        <a:p>
          <a:endParaRPr lang="nb-NO"/>
        </a:p>
      </dgm:t>
    </dgm:pt>
    <dgm:pt modelId="{CCF71B2C-FA6C-4844-BF5F-2D32939AE6C2}">
      <dgm:prSet/>
      <dgm:spPr>
        <a:solidFill>
          <a:srgbClr val="EAF9F3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Støtte til </a:t>
          </a:r>
          <a:r>
            <a:rPr lang="nb-NO" dirty="0">
              <a:solidFill>
                <a:schemeClr val="tx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utviklingsarbeid i emner og programmer</a:t>
          </a:r>
          <a:endParaRPr lang="nb-NO" dirty="0">
            <a:solidFill>
              <a:schemeClr val="tx1"/>
            </a:solidFill>
            <a:effectLst/>
            <a:latin typeface="+mj-lt"/>
            <a:ea typeface="Calibri" panose="020F0502020204030204" pitchFamily="34" charset="0"/>
            <a:cs typeface="Times New Roman" panose="02020603050405020304" pitchFamily="18" charset="0"/>
          </a:endParaRPr>
        </a:p>
      </dgm:t>
    </dgm:pt>
    <dgm:pt modelId="{26BFD0A7-21BC-4135-83B5-2C447A978FBD}" type="parTrans" cxnId="{91286F09-2743-4F7F-9272-F82000C97800}">
      <dgm:prSet/>
      <dgm:spPr/>
      <dgm:t>
        <a:bodyPr/>
        <a:lstStyle/>
        <a:p>
          <a:endParaRPr lang="nb-NO"/>
        </a:p>
      </dgm:t>
    </dgm:pt>
    <dgm:pt modelId="{6C553FED-44DC-4655-A417-CD753F70C4BA}" type="sibTrans" cxnId="{91286F09-2743-4F7F-9272-F82000C97800}">
      <dgm:prSet/>
      <dgm:spPr/>
      <dgm:t>
        <a:bodyPr/>
        <a:lstStyle/>
        <a:p>
          <a:endParaRPr lang="nb-NO"/>
        </a:p>
      </dgm:t>
    </dgm:pt>
    <dgm:pt modelId="{5052FBE9-7368-4AD9-8B5C-A3D0D8710C10}">
      <dgm:prSet/>
      <dgm:spPr>
        <a:solidFill>
          <a:srgbClr val="EAF9F3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rPr>
            <a:t>Kunnskapsbaserte (nett)ressurser</a:t>
          </a:r>
          <a:endParaRPr lang="nb-NO" dirty="0">
            <a:solidFill>
              <a:schemeClr val="tx1"/>
            </a:solidFill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gm:t>
    </dgm:pt>
    <dgm:pt modelId="{FC39B9F3-84B9-4616-BB15-6FE203591F00}" type="parTrans" cxnId="{37DCCDE0-276F-4A29-9337-B7CD57934AC2}">
      <dgm:prSet/>
      <dgm:spPr/>
      <dgm:t>
        <a:bodyPr/>
        <a:lstStyle/>
        <a:p>
          <a:endParaRPr lang="nb-NO"/>
        </a:p>
      </dgm:t>
    </dgm:pt>
    <dgm:pt modelId="{95030062-97A8-4A94-9A56-87B3F53B4D1D}" type="sibTrans" cxnId="{37DCCDE0-276F-4A29-9337-B7CD57934AC2}">
      <dgm:prSet/>
      <dgm:spPr/>
      <dgm:t>
        <a:bodyPr/>
        <a:lstStyle/>
        <a:p>
          <a:endParaRPr lang="nb-NO"/>
        </a:p>
      </dgm:t>
    </dgm:pt>
    <dgm:pt modelId="{70A6C4DC-AFED-4BBE-AC88-2AEE7C60ADB3}">
      <dgm:prSet phldrT="[Text]"/>
      <dgm:spPr>
        <a:solidFill>
          <a:srgbClr val="584BF0"/>
        </a:solidFill>
      </dgm:spPr>
      <dgm:t>
        <a:bodyPr/>
        <a:lstStyle/>
        <a:p>
          <a:r>
            <a:rPr lang="nb-NO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EILIN førstelinje</a:t>
          </a:r>
          <a:endParaRPr lang="nb-NO" dirty="0">
            <a:solidFill>
              <a:schemeClr val="bg1"/>
            </a:solidFill>
            <a:latin typeface="+mj-lt"/>
          </a:endParaRPr>
        </a:p>
      </dgm:t>
    </dgm:pt>
    <dgm:pt modelId="{B4A5E34F-56D4-4F7F-856A-4779E09E0C0B}" type="parTrans" cxnId="{43768AED-7032-418A-9571-3C6BE28410B0}">
      <dgm:prSet/>
      <dgm:spPr/>
      <dgm:t>
        <a:bodyPr/>
        <a:lstStyle/>
        <a:p>
          <a:endParaRPr lang="nb-NO"/>
        </a:p>
      </dgm:t>
    </dgm:pt>
    <dgm:pt modelId="{0E239ED6-C595-4865-9E09-86F6E5D154E0}" type="sibTrans" cxnId="{43768AED-7032-418A-9571-3C6BE28410B0}">
      <dgm:prSet/>
      <dgm:spPr/>
      <dgm:t>
        <a:bodyPr/>
        <a:lstStyle/>
        <a:p>
          <a:endParaRPr lang="nb-NO"/>
        </a:p>
      </dgm:t>
    </dgm:pt>
    <dgm:pt modelId="{88495B68-B375-4084-8A7D-01B5106B9EE7}">
      <dgm:prSet/>
      <dgm:spPr>
        <a:solidFill>
          <a:srgbClr val="584BF0"/>
        </a:solidFill>
      </dgm:spPr>
      <dgm:t>
        <a:bodyPr/>
        <a:lstStyle/>
        <a:p>
          <a:r>
            <a:rPr lang="nb-NO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Sikre oppdatert infrastruktur </a:t>
          </a:r>
          <a:endParaRPr lang="nb-NO" dirty="0">
            <a:solidFill>
              <a:schemeClr val="bg1"/>
            </a:solidFill>
            <a:latin typeface="+mj-lt"/>
            <a:cs typeface="Times New Roman" panose="02020603050405020304" pitchFamily="18" charset="0"/>
          </a:endParaRPr>
        </a:p>
      </dgm:t>
    </dgm:pt>
    <dgm:pt modelId="{C7CF0FBE-2968-4E9A-AF40-F110482D2997}" type="parTrans" cxnId="{6444E8FD-654F-4818-B633-EDBF8BE73CC1}">
      <dgm:prSet/>
      <dgm:spPr/>
      <dgm:t>
        <a:bodyPr/>
        <a:lstStyle/>
        <a:p>
          <a:endParaRPr lang="nb-NO"/>
        </a:p>
      </dgm:t>
    </dgm:pt>
    <dgm:pt modelId="{C4578476-5018-4F34-9F62-D8F173E89F2E}" type="sibTrans" cxnId="{6444E8FD-654F-4818-B633-EDBF8BE73CC1}">
      <dgm:prSet/>
      <dgm:spPr/>
      <dgm:t>
        <a:bodyPr/>
        <a:lstStyle/>
        <a:p>
          <a:endParaRPr lang="nb-NO"/>
        </a:p>
      </dgm:t>
    </dgm:pt>
    <dgm:pt modelId="{FE0ECD81-08D3-4BE6-9B0A-816BD0E5347E}">
      <dgm:prSet/>
      <dgm:spPr>
        <a:solidFill>
          <a:srgbClr val="584BF0"/>
        </a:solidFill>
      </dgm:spPr>
      <dgm:t>
        <a:bodyPr/>
        <a:lstStyle/>
        <a:p>
          <a:r>
            <a:rPr lang="nb-NO" dirty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Støtte til universell utforming</a:t>
          </a:r>
        </a:p>
      </dgm:t>
    </dgm:pt>
    <dgm:pt modelId="{F3EE10E9-2C4E-488F-857A-6F7F2D03CC7F}" type="parTrans" cxnId="{4F2DF140-0562-4E75-AD69-7B978F888053}">
      <dgm:prSet/>
      <dgm:spPr/>
      <dgm:t>
        <a:bodyPr/>
        <a:lstStyle/>
        <a:p>
          <a:endParaRPr lang="nb-NO"/>
        </a:p>
      </dgm:t>
    </dgm:pt>
    <dgm:pt modelId="{34DDEB43-4932-4E7E-AEEF-EDC5541DFFA8}" type="sibTrans" cxnId="{4F2DF140-0562-4E75-AD69-7B978F888053}">
      <dgm:prSet/>
      <dgm:spPr/>
      <dgm:t>
        <a:bodyPr/>
        <a:lstStyle/>
        <a:p>
          <a:endParaRPr lang="nb-NO"/>
        </a:p>
      </dgm:t>
    </dgm:pt>
    <dgm:pt modelId="{67A1A139-951A-48CC-A1A2-A45D06A579A7}">
      <dgm:prSet/>
      <dgm:spPr>
        <a:solidFill>
          <a:srgbClr val="584BF0"/>
        </a:solidFill>
      </dgm:spPr>
      <dgm:t>
        <a:bodyPr/>
        <a:lstStyle/>
        <a:p>
          <a:r>
            <a:rPr lang="nb-NO" dirty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Utrulling av nye plattformer</a:t>
          </a:r>
        </a:p>
      </dgm:t>
    </dgm:pt>
    <dgm:pt modelId="{8B720501-3059-4381-8B00-AA206F76F246}" type="parTrans" cxnId="{0D5472BA-F2F8-43EB-B510-57F92B9DB29B}">
      <dgm:prSet/>
      <dgm:spPr/>
      <dgm:t>
        <a:bodyPr/>
        <a:lstStyle/>
        <a:p>
          <a:endParaRPr lang="nb-NO"/>
        </a:p>
      </dgm:t>
    </dgm:pt>
    <dgm:pt modelId="{39A36307-A397-49C8-880C-CF37195D5B44}" type="sibTrans" cxnId="{0D5472BA-F2F8-43EB-B510-57F92B9DB29B}">
      <dgm:prSet/>
      <dgm:spPr/>
      <dgm:t>
        <a:bodyPr/>
        <a:lstStyle/>
        <a:p>
          <a:endParaRPr lang="nb-NO"/>
        </a:p>
      </dgm:t>
    </dgm:pt>
    <dgm:pt modelId="{8D1D5157-C5BB-4222-8A8F-9ABB49FC0C45}">
      <dgm:prSet/>
      <dgm:spPr>
        <a:solidFill>
          <a:srgbClr val="584BF0"/>
        </a:solidFill>
      </dgm:spPr>
      <dgm:t>
        <a:bodyPr/>
        <a:lstStyle/>
        <a:p>
          <a:r>
            <a:rPr lang="nb-NO" dirty="0" err="1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Monitorere</a:t>
          </a:r>
          <a:r>
            <a:rPr lang="nb-NO" dirty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 behov</a:t>
          </a:r>
        </a:p>
      </dgm:t>
    </dgm:pt>
    <dgm:pt modelId="{83C698BF-47A5-45D8-A337-5B48DF266A10}" type="parTrans" cxnId="{2E0607DD-6E31-4B76-B909-060A61F2BB64}">
      <dgm:prSet/>
      <dgm:spPr/>
      <dgm:t>
        <a:bodyPr/>
        <a:lstStyle/>
        <a:p>
          <a:endParaRPr lang="nb-NO"/>
        </a:p>
      </dgm:t>
    </dgm:pt>
    <dgm:pt modelId="{53D679C9-6E76-4A59-B563-4E72EE885BF5}" type="sibTrans" cxnId="{2E0607DD-6E31-4B76-B909-060A61F2BB64}">
      <dgm:prSet/>
      <dgm:spPr/>
      <dgm:t>
        <a:bodyPr/>
        <a:lstStyle/>
        <a:p>
          <a:endParaRPr lang="nb-NO"/>
        </a:p>
      </dgm:t>
    </dgm:pt>
    <dgm:pt modelId="{40A9E2B1-AE13-44AD-A764-AFC3BB7D5582}">
      <dgm:prSet/>
      <dgm:spPr>
        <a:solidFill>
          <a:srgbClr val="86A4F7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latin typeface="+mj-lt"/>
            </a:rPr>
            <a:t>Jevnlig kontakt med IT-avdelingen, LINK ol.</a:t>
          </a:r>
        </a:p>
      </dgm:t>
    </dgm:pt>
    <dgm:pt modelId="{8D3C2541-EE63-43B1-A9E0-9E4EE8AE1862}" type="parTrans" cxnId="{C10C3046-AF4F-47BE-AA75-F72DB89D8721}">
      <dgm:prSet/>
      <dgm:spPr/>
      <dgm:t>
        <a:bodyPr/>
        <a:lstStyle/>
        <a:p>
          <a:endParaRPr lang="nb-NO"/>
        </a:p>
      </dgm:t>
    </dgm:pt>
    <dgm:pt modelId="{28612494-7E29-4FA3-924A-0ED00354294E}" type="sibTrans" cxnId="{C10C3046-AF4F-47BE-AA75-F72DB89D8721}">
      <dgm:prSet/>
      <dgm:spPr/>
      <dgm:t>
        <a:bodyPr/>
        <a:lstStyle/>
        <a:p>
          <a:endParaRPr lang="nb-NO"/>
        </a:p>
      </dgm:t>
    </dgm:pt>
    <dgm:pt modelId="{DEC64F16-6F3E-447A-A104-0F59CCF68E74}">
      <dgm:prSet/>
      <dgm:spPr>
        <a:solidFill>
          <a:srgbClr val="86A4F7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latin typeface="+mj-lt"/>
            </a:rPr>
            <a:t>Samarbeid med andre støtteenheter</a:t>
          </a:r>
        </a:p>
      </dgm:t>
    </dgm:pt>
    <dgm:pt modelId="{E2465825-9D9A-42C4-8BDA-29EE9DBDBC53}" type="parTrans" cxnId="{A4FB0721-D119-478B-9E09-F1A521CD2289}">
      <dgm:prSet/>
      <dgm:spPr/>
      <dgm:t>
        <a:bodyPr/>
        <a:lstStyle/>
        <a:p>
          <a:endParaRPr lang="nb-NO"/>
        </a:p>
      </dgm:t>
    </dgm:pt>
    <dgm:pt modelId="{5B41F0E0-E10B-43C9-9E70-0AE0E332780B}" type="sibTrans" cxnId="{A4FB0721-D119-478B-9E09-F1A521CD2289}">
      <dgm:prSet/>
      <dgm:spPr/>
      <dgm:t>
        <a:bodyPr/>
        <a:lstStyle/>
        <a:p>
          <a:endParaRPr lang="nb-NO"/>
        </a:p>
      </dgm:t>
    </dgm:pt>
    <dgm:pt modelId="{9593CE9A-302C-4626-81ED-BD3A8F245B97}">
      <dgm:prSet/>
      <dgm:spPr>
        <a:solidFill>
          <a:srgbClr val="86A4F7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latin typeface="+mj-lt"/>
            </a:rPr>
            <a:t>Deltagelse i nettverk ved UiO</a:t>
          </a:r>
        </a:p>
      </dgm:t>
    </dgm:pt>
    <dgm:pt modelId="{6DE89A4D-A27B-4B2D-9593-3CEB1CC1C2FC}" type="parTrans" cxnId="{A3594E6F-E02E-405D-BBAE-B566518A60DE}">
      <dgm:prSet/>
      <dgm:spPr/>
      <dgm:t>
        <a:bodyPr/>
        <a:lstStyle/>
        <a:p>
          <a:endParaRPr lang="nb-NO"/>
        </a:p>
      </dgm:t>
    </dgm:pt>
    <dgm:pt modelId="{705DDA60-1FDD-409E-8908-02E528309E0C}" type="sibTrans" cxnId="{A3594E6F-E02E-405D-BBAE-B566518A60DE}">
      <dgm:prSet/>
      <dgm:spPr/>
      <dgm:t>
        <a:bodyPr/>
        <a:lstStyle/>
        <a:p>
          <a:endParaRPr lang="nb-NO"/>
        </a:p>
      </dgm:t>
    </dgm:pt>
    <dgm:pt modelId="{07A93E07-1D0A-4A63-B3EA-8AD2F1A11F5A}">
      <dgm:prSet phldrT="[Text]"/>
      <dgm:spPr>
        <a:solidFill>
          <a:srgbClr val="6CE1AB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latin typeface="+mj-lt"/>
            </a:rPr>
            <a:t>Arenaer for erfaringsdeling (UiO, fakultet, enhet)</a:t>
          </a:r>
        </a:p>
      </dgm:t>
    </dgm:pt>
    <dgm:pt modelId="{541FE9BC-7991-4691-93B6-05687B0CE584}" type="parTrans" cxnId="{F51198F9-EFE6-4524-AE1D-2283963FE39B}">
      <dgm:prSet/>
      <dgm:spPr/>
      <dgm:t>
        <a:bodyPr/>
        <a:lstStyle/>
        <a:p>
          <a:endParaRPr lang="nb-NO"/>
        </a:p>
      </dgm:t>
    </dgm:pt>
    <dgm:pt modelId="{4F6AABCF-F62C-47AB-BFA0-99356CF7554A}" type="sibTrans" cxnId="{F51198F9-EFE6-4524-AE1D-2283963FE39B}">
      <dgm:prSet/>
      <dgm:spPr/>
      <dgm:t>
        <a:bodyPr/>
        <a:lstStyle/>
        <a:p>
          <a:endParaRPr lang="nb-NO"/>
        </a:p>
      </dgm:t>
    </dgm:pt>
    <dgm:pt modelId="{828D54B4-8173-48BC-B514-B69F9EB8686A}">
      <dgm:prSet/>
      <dgm:spPr>
        <a:solidFill>
          <a:srgbClr val="6CE1AB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latin typeface="+mj-lt"/>
            </a:rPr>
            <a:t>INTED</a:t>
          </a:r>
        </a:p>
      </dgm:t>
    </dgm:pt>
    <dgm:pt modelId="{3F2F7F6B-427B-44E5-AB81-2455216D364D}" type="parTrans" cxnId="{C2679C06-2D30-43ED-B001-C1803286CC1E}">
      <dgm:prSet/>
      <dgm:spPr/>
      <dgm:t>
        <a:bodyPr/>
        <a:lstStyle/>
        <a:p>
          <a:endParaRPr lang="nb-NO"/>
        </a:p>
      </dgm:t>
    </dgm:pt>
    <dgm:pt modelId="{09DA41F5-B90C-4CBF-8378-D5531D12516E}" type="sibTrans" cxnId="{C2679C06-2D30-43ED-B001-C1803286CC1E}">
      <dgm:prSet/>
      <dgm:spPr/>
      <dgm:t>
        <a:bodyPr/>
        <a:lstStyle/>
        <a:p>
          <a:endParaRPr lang="nb-NO"/>
        </a:p>
      </dgm:t>
    </dgm:pt>
    <dgm:pt modelId="{277CB3FB-2B57-41B6-BBA3-AB6B27DC02D2}">
      <dgm:prSet phldrT="[Text]"/>
      <dgm:spPr>
        <a:solidFill>
          <a:srgbClr val="6CE1AB"/>
        </a:solidFill>
      </dgm:spPr>
      <dgm:t>
        <a:bodyPr/>
        <a:lstStyle/>
        <a:p>
          <a:r>
            <a:rPr lang="nb-NO" dirty="0">
              <a:solidFill>
                <a:schemeClr val="tx1"/>
              </a:solidFill>
              <a:latin typeface="+mj-lt"/>
            </a:rPr>
            <a:t>Incentiver: Såkornmidler, LINK timer, SK-ITU</a:t>
          </a:r>
        </a:p>
      </dgm:t>
    </dgm:pt>
    <dgm:pt modelId="{B0DA2851-17A9-4006-962C-C1E94630AA35}" type="parTrans" cxnId="{2068FED0-BCEC-4AD5-8010-E4414532E6E2}">
      <dgm:prSet/>
      <dgm:spPr/>
      <dgm:t>
        <a:bodyPr/>
        <a:lstStyle/>
        <a:p>
          <a:endParaRPr lang="nb-NO"/>
        </a:p>
      </dgm:t>
    </dgm:pt>
    <dgm:pt modelId="{71D867AE-6C7A-4AAE-8BF3-134804E00899}" type="sibTrans" cxnId="{2068FED0-BCEC-4AD5-8010-E4414532E6E2}">
      <dgm:prSet/>
      <dgm:spPr/>
      <dgm:t>
        <a:bodyPr/>
        <a:lstStyle/>
        <a:p>
          <a:endParaRPr lang="nb-NO"/>
        </a:p>
      </dgm:t>
    </dgm:pt>
    <dgm:pt modelId="{49C131E6-F6AF-4C8D-8E4B-B5CFCFD798DB}" type="pres">
      <dgm:prSet presAssocID="{3ECC6E84-8481-42B9-9835-39D5E76553F7}" presName="diagram" presStyleCnt="0">
        <dgm:presLayoutVars>
          <dgm:dir/>
          <dgm:resizeHandles val="exact"/>
        </dgm:presLayoutVars>
      </dgm:prSet>
      <dgm:spPr/>
    </dgm:pt>
    <dgm:pt modelId="{49E325AC-8D3A-4294-9EF5-A8A8C3950E14}" type="pres">
      <dgm:prSet presAssocID="{6A5BFBBC-227E-456E-9054-40EEF07989B9}" presName="node" presStyleLbl="node1" presStyleIdx="0" presStyleCnt="4">
        <dgm:presLayoutVars>
          <dgm:bulletEnabled val="1"/>
        </dgm:presLayoutVars>
      </dgm:prSet>
      <dgm:spPr/>
    </dgm:pt>
    <dgm:pt modelId="{3C0780D3-CC67-4581-896B-AEAF204F5957}" type="pres">
      <dgm:prSet presAssocID="{2F81BA99-2FF3-4EE4-8F12-927BA5B397CB}" presName="sibTrans" presStyleCnt="0"/>
      <dgm:spPr/>
    </dgm:pt>
    <dgm:pt modelId="{81D3062E-97C5-426C-8423-DFD2000067BC}" type="pres">
      <dgm:prSet presAssocID="{34F4DE22-50D0-403A-957E-AACFFE6624EE}" presName="node" presStyleLbl="node1" presStyleIdx="1" presStyleCnt="4">
        <dgm:presLayoutVars>
          <dgm:bulletEnabled val="1"/>
        </dgm:presLayoutVars>
      </dgm:prSet>
      <dgm:spPr/>
    </dgm:pt>
    <dgm:pt modelId="{C2632FE4-B700-4C97-B664-4336F4AF011B}" type="pres">
      <dgm:prSet presAssocID="{2D03D8D1-54B6-4916-B3BC-F839A394197E}" presName="sibTrans" presStyleCnt="0"/>
      <dgm:spPr/>
    </dgm:pt>
    <dgm:pt modelId="{0132F874-C78D-4B56-8C4E-BB3CDC7C9DEA}" type="pres">
      <dgm:prSet presAssocID="{2EB30ED5-A029-4209-A483-AE43E6F5F47E}" presName="node" presStyleLbl="node1" presStyleIdx="2" presStyleCnt="4">
        <dgm:presLayoutVars>
          <dgm:bulletEnabled val="1"/>
        </dgm:presLayoutVars>
      </dgm:prSet>
      <dgm:spPr/>
    </dgm:pt>
    <dgm:pt modelId="{73F11DB1-CA25-448B-984C-6072CE23BB8F}" type="pres">
      <dgm:prSet presAssocID="{6F458A4E-DCB4-404E-A58B-1D484264EE30}" presName="sibTrans" presStyleCnt="0"/>
      <dgm:spPr/>
    </dgm:pt>
    <dgm:pt modelId="{BCBFA930-B302-48A7-813C-4590F65F6EB4}" type="pres">
      <dgm:prSet presAssocID="{7C0A191F-6E5F-4985-B584-D8848663A169}" presName="node" presStyleLbl="node1" presStyleIdx="3" presStyleCnt="4">
        <dgm:presLayoutVars>
          <dgm:bulletEnabled val="1"/>
        </dgm:presLayoutVars>
      </dgm:prSet>
      <dgm:spPr/>
    </dgm:pt>
  </dgm:ptLst>
  <dgm:cxnLst>
    <dgm:cxn modelId="{58771F00-CED6-4B50-B0E4-06BE5F19131E}" type="presOf" srcId="{DEC64F16-6F3E-447A-A104-0F59CCF68E74}" destId="{0132F874-C78D-4B56-8C4E-BB3CDC7C9DEA}" srcOrd="0" destOrd="2" presId="urn:microsoft.com/office/officeart/2005/8/layout/default"/>
    <dgm:cxn modelId="{84ACCF01-50A6-4A5C-811E-DE3B80047D3D}" type="presOf" srcId="{70A6C4DC-AFED-4BBE-AC88-2AEE7C60ADB3}" destId="{81D3062E-97C5-426C-8423-DFD2000067BC}" srcOrd="0" destOrd="1" presId="urn:microsoft.com/office/officeart/2005/8/layout/default"/>
    <dgm:cxn modelId="{C2679C06-2D30-43ED-B001-C1803286CC1E}" srcId="{7C0A191F-6E5F-4985-B584-D8848663A169}" destId="{828D54B4-8173-48BC-B514-B69F9EB8686A}" srcOrd="2" destOrd="0" parTransId="{3F2F7F6B-427B-44E5-AB81-2455216D364D}" sibTransId="{09DA41F5-B90C-4CBF-8378-D5531D12516E}"/>
    <dgm:cxn modelId="{91286F09-2743-4F7F-9272-F82000C97800}" srcId="{6A5BFBBC-227E-456E-9054-40EEF07989B9}" destId="{CCF71B2C-FA6C-4844-BF5F-2D32939AE6C2}" srcOrd="1" destOrd="0" parTransId="{26BFD0A7-21BC-4135-83B5-2C447A978FBD}" sibTransId="{6C553FED-44DC-4655-A417-CD753F70C4BA}"/>
    <dgm:cxn modelId="{EDE0610D-C63F-477A-BCDC-6976287139FB}" type="presOf" srcId="{3ECC6E84-8481-42B9-9835-39D5E76553F7}" destId="{49C131E6-F6AF-4C8D-8E4B-B5CFCFD798DB}" srcOrd="0" destOrd="0" presId="urn:microsoft.com/office/officeart/2005/8/layout/default"/>
    <dgm:cxn modelId="{A4FB0721-D119-478B-9E09-F1A521CD2289}" srcId="{2EB30ED5-A029-4209-A483-AE43E6F5F47E}" destId="{DEC64F16-6F3E-447A-A104-0F59CCF68E74}" srcOrd="1" destOrd="0" parTransId="{E2465825-9D9A-42C4-8BDA-29EE9DBDBC53}" sibTransId="{5B41F0E0-E10B-43C9-9E70-0AE0E332780B}"/>
    <dgm:cxn modelId="{14805534-3CBE-4E7A-8A81-D83174C74643}" type="presOf" srcId="{828D54B4-8173-48BC-B514-B69F9EB8686A}" destId="{BCBFA930-B302-48A7-813C-4590F65F6EB4}" srcOrd="0" destOrd="3" presId="urn:microsoft.com/office/officeart/2005/8/layout/default"/>
    <dgm:cxn modelId="{3ED37437-70DA-43CD-85ED-F9A8828FA54C}" type="presOf" srcId="{CCF71B2C-FA6C-4844-BF5F-2D32939AE6C2}" destId="{49E325AC-8D3A-4294-9EF5-A8A8C3950E14}" srcOrd="0" destOrd="2" presId="urn:microsoft.com/office/officeart/2005/8/layout/default"/>
    <dgm:cxn modelId="{32D7D63E-DEE3-445E-BCAF-800BBBB74B70}" type="presOf" srcId="{6A5BFBBC-227E-456E-9054-40EEF07989B9}" destId="{49E325AC-8D3A-4294-9EF5-A8A8C3950E14}" srcOrd="0" destOrd="0" presId="urn:microsoft.com/office/officeart/2005/8/layout/default"/>
    <dgm:cxn modelId="{4F2DF140-0562-4E75-AD69-7B978F888053}" srcId="{34F4DE22-50D0-403A-957E-AACFFE6624EE}" destId="{FE0ECD81-08D3-4BE6-9B0A-816BD0E5347E}" srcOrd="2" destOrd="0" parTransId="{F3EE10E9-2C4E-488F-857A-6F7F2D03CC7F}" sibTransId="{34DDEB43-4932-4E7E-AEEF-EDC5541DFFA8}"/>
    <dgm:cxn modelId="{E1032161-D352-4B13-B28A-CF1EB5CC512D}" srcId="{3ECC6E84-8481-42B9-9835-39D5E76553F7}" destId="{2EB30ED5-A029-4209-A483-AE43E6F5F47E}" srcOrd="2" destOrd="0" parTransId="{B3082DAE-08F8-4B13-8D5D-F81AF5DD1B54}" sibTransId="{6F458A4E-DCB4-404E-A58B-1D484264EE30}"/>
    <dgm:cxn modelId="{C10C3046-AF4F-47BE-AA75-F72DB89D8721}" srcId="{2EB30ED5-A029-4209-A483-AE43E6F5F47E}" destId="{40A9E2B1-AE13-44AD-A764-AFC3BB7D5582}" srcOrd="0" destOrd="0" parTransId="{8D3C2541-EE63-43B1-A9E0-9E4EE8AE1862}" sibTransId="{28612494-7E29-4FA3-924A-0ED00354294E}"/>
    <dgm:cxn modelId="{4B4DA366-615E-44A5-A388-E3193687F659}" type="presOf" srcId="{FE0ECD81-08D3-4BE6-9B0A-816BD0E5347E}" destId="{81D3062E-97C5-426C-8423-DFD2000067BC}" srcOrd="0" destOrd="3" presId="urn:microsoft.com/office/officeart/2005/8/layout/default"/>
    <dgm:cxn modelId="{A5D49D6C-8CF2-469E-933A-9AD20D82E9C1}" type="presOf" srcId="{9593CE9A-302C-4626-81ED-BD3A8F245B97}" destId="{0132F874-C78D-4B56-8C4E-BB3CDC7C9DEA}" srcOrd="0" destOrd="3" presId="urn:microsoft.com/office/officeart/2005/8/layout/default"/>
    <dgm:cxn modelId="{A3594E6F-E02E-405D-BBAE-B566518A60DE}" srcId="{2EB30ED5-A029-4209-A483-AE43E6F5F47E}" destId="{9593CE9A-302C-4626-81ED-BD3A8F245B97}" srcOrd="2" destOrd="0" parTransId="{6DE89A4D-A27B-4B2D-9593-3CEB1CC1C2FC}" sibTransId="{705DDA60-1FDD-409E-8908-02E528309E0C}"/>
    <dgm:cxn modelId="{1F5CCE70-2977-4DC0-8FF0-D96DC5B78C93}" type="presOf" srcId="{40A9E2B1-AE13-44AD-A764-AFC3BB7D5582}" destId="{0132F874-C78D-4B56-8C4E-BB3CDC7C9DEA}" srcOrd="0" destOrd="1" presId="urn:microsoft.com/office/officeart/2005/8/layout/default"/>
    <dgm:cxn modelId="{22528154-1A75-4EAE-BB03-24FAA8D28F25}" type="presOf" srcId="{2EB30ED5-A029-4209-A483-AE43E6F5F47E}" destId="{0132F874-C78D-4B56-8C4E-BB3CDC7C9DEA}" srcOrd="0" destOrd="0" presId="urn:microsoft.com/office/officeart/2005/8/layout/default"/>
    <dgm:cxn modelId="{4B28347D-1E69-47C7-BE3B-62E8BD6E5C8C}" srcId="{3ECC6E84-8481-42B9-9835-39D5E76553F7}" destId="{6A5BFBBC-227E-456E-9054-40EEF07989B9}" srcOrd="0" destOrd="0" parTransId="{3C1BE71D-7019-426A-BF15-C9CD36B7272C}" sibTransId="{2F81BA99-2FF3-4EE4-8F12-927BA5B397CB}"/>
    <dgm:cxn modelId="{32FA087F-F7C0-4E49-ADF9-69FCE4F39D60}" srcId="{3ECC6E84-8481-42B9-9835-39D5E76553F7}" destId="{7C0A191F-6E5F-4985-B584-D8848663A169}" srcOrd="3" destOrd="0" parTransId="{F06CDAC9-AB47-4008-9967-DA9B4AF92FDB}" sibTransId="{5254E12E-C6F4-420D-BE59-2B0D3A9B5545}"/>
    <dgm:cxn modelId="{AC933A7F-BD23-4017-9D95-E4EE563F3819}" type="presOf" srcId="{67A1A139-951A-48CC-A1A2-A45D06A579A7}" destId="{81D3062E-97C5-426C-8423-DFD2000067BC}" srcOrd="0" destOrd="4" presId="urn:microsoft.com/office/officeart/2005/8/layout/default"/>
    <dgm:cxn modelId="{2C10F28C-5C58-4B91-8234-EFA5EF288B23}" type="presOf" srcId="{88495B68-B375-4084-8A7D-01B5106B9EE7}" destId="{81D3062E-97C5-426C-8423-DFD2000067BC}" srcOrd="0" destOrd="2" presId="urn:microsoft.com/office/officeart/2005/8/layout/default"/>
    <dgm:cxn modelId="{DAB7E592-6EF2-4512-8CEA-90EAEC77AE14}" srcId="{3ECC6E84-8481-42B9-9835-39D5E76553F7}" destId="{34F4DE22-50D0-403A-957E-AACFFE6624EE}" srcOrd="1" destOrd="0" parTransId="{883A884E-9A75-450B-BF04-75B732D3F436}" sibTransId="{2D03D8D1-54B6-4916-B3BC-F839A394197E}"/>
    <dgm:cxn modelId="{F1905CA4-7827-42B7-B83C-461D40F6C610}" type="presOf" srcId="{34F4DE22-50D0-403A-957E-AACFFE6624EE}" destId="{81D3062E-97C5-426C-8423-DFD2000067BC}" srcOrd="0" destOrd="0" presId="urn:microsoft.com/office/officeart/2005/8/layout/default"/>
    <dgm:cxn modelId="{16E408AA-A2DD-4562-B0DA-75B291B9EF2E}" srcId="{6A5BFBBC-227E-456E-9054-40EEF07989B9}" destId="{E655D987-6DBE-4230-A990-388B7524C2D3}" srcOrd="0" destOrd="0" parTransId="{A0F0B707-4586-48D1-88C7-012C643206C0}" sibTransId="{570B2F0B-83B0-436D-BD40-F9C4F8737777}"/>
    <dgm:cxn modelId="{0D5472BA-F2F8-43EB-B510-57F92B9DB29B}" srcId="{34F4DE22-50D0-403A-957E-AACFFE6624EE}" destId="{67A1A139-951A-48CC-A1A2-A45D06A579A7}" srcOrd="3" destOrd="0" parTransId="{8B720501-3059-4381-8B00-AA206F76F246}" sibTransId="{39A36307-A397-49C8-880C-CF37195D5B44}"/>
    <dgm:cxn modelId="{D349D1BD-0D8D-4324-9DBD-3F615836EF1A}" type="presOf" srcId="{8D1D5157-C5BB-4222-8A8F-9ABB49FC0C45}" destId="{81D3062E-97C5-426C-8423-DFD2000067BC}" srcOrd="0" destOrd="5" presId="urn:microsoft.com/office/officeart/2005/8/layout/default"/>
    <dgm:cxn modelId="{219290C0-ABA0-4295-B2EE-D78261BE03A8}" type="presOf" srcId="{E655D987-6DBE-4230-A990-388B7524C2D3}" destId="{49E325AC-8D3A-4294-9EF5-A8A8C3950E14}" srcOrd="0" destOrd="1" presId="urn:microsoft.com/office/officeart/2005/8/layout/default"/>
    <dgm:cxn modelId="{CA65BDD0-F250-43C9-BC6A-0B5480A273AE}" type="presOf" srcId="{277CB3FB-2B57-41B6-BBA3-AB6B27DC02D2}" destId="{BCBFA930-B302-48A7-813C-4590F65F6EB4}" srcOrd="0" destOrd="2" presId="urn:microsoft.com/office/officeart/2005/8/layout/default"/>
    <dgm:cxn modelId="{2068FED0-BCEC-4AD5-8010-E4414532E6E2}" srcId="{7C0A191F-6E5F-4985-B584-D8848663A169}" destId="{277CB3FB-2B57-41B6-BBA3-AB6B27DC02D2}" srcOrd="1" destOrd="0" parTransId="{B0DA2851-17A9-4006-962C-C1E94630AA35}" sibTransId="{71D867AE-6C7A-4AAE-8BF3-134804E00899}"/>
    <dgm:cxn modelId="{D265A3D3-8F5D-4CF1-AE0B-05C82A9E2625}" type="presOf" srcId="{07A93E07-1D0A-4A63-B3EA-8AD2F1A11F5A}" destId="{BCBFA930-B302-48A7-813C-4590F65F6EB4}" srcOrd="0" destOrd="1" presId="urn:microsoft.com/office/officeart/2005/8/layout/default"/>
    <dgm:cxn modelId="{2E0607DD-6E31-4B76-B909-060A61F2BB64}" srcId="{34F4DE22-50D0-403A-957E-AACFFE6624EE}" destId="{8D1D5157-C5BB-4222-8A8F-9ABB49FC0C45}" srcOrd="4" destOrd="0" parTransId="{83C698BF-47A5-45D8-A337-5B48DF266A10}" sibTransId="{53D679C9-6E76-4A59-B563-4E72EE885BF5}"/>
    <dgm:cxn modelId="{37DCCDE0-276F-4A29-9337-B7CD57934AC2}" srcId="{6A5BFBBC-227E-456E-9054-40EEF07989B9}" destId="{5052FBE9-7368-4AD9-8B5C-A3D0D8710C10}" srcOrd="2" destOrd="0" parTransId="{FC39B9F3-84B9-4616-BB15-6FE203591F00}" sibTransId="{95030062-97A8-4A94-9A56-87B3F53B4D1D}"/>
    <dgm:cxn modelId="{AE48A8E4-6BBC-4DF6-8E7E-47ED466B441B}" type="presOf" srcId="{7C0A191F-6E5F-4985-B584-D8848663A169}" destId="{BCBFA930-B302-48A7-813C-4590F65F6EB4}" srcOrd="0" destOrd="0" presId="urn:microsoft.com/office/officeart/2005/8/layout/default"/>
    <dgm:cxn modelId="{43768AED-7032-418A-9571-3C6BE28410B0}" srcId="{34F4DE22-50D0-403A-957E-AACFFE6624EE}" destId="{70A6C4DC-AFED-4BBE-AC88-2AEE7C60ADB3}" srcOrd="0" destOrd="0" parTransId="{B4A5E34F-56D4-4F7F-856A-4779E09E0C0B}" sibTransId="{0E239ED6-C595-4865-9E09-86F6E5D154E0}"/>
    <dgm:cxn modelId="{659489F0-FF4F-4C2E-BF70-C2A6268A09EE}" type="presOf" srcId="{5052FBE9-7368-4AD9-8B5C-A3D0D8710C10}" destId="{49E325AC-8D3A-4294-9EF5-A8A8C3950E14}" srcOrd="0" destOrd="3" presId="urn:microsoft.com/office/officeart/2005/8/layout/default"/>
    <dgm:cxn modelId="{F51198F9-EFE6-4524-AE1D-2283963FE39B}" srcId="{7C0A191F-6E5F-4985-B584-D8848663A169}" destId="{07A93E07-1D0A-4A63-B3EA-8AD2F1A11F5A}" srcOrd="0" destOrd="0" parTransId="{541FE9BC-7991-4691-93B6-05687B0CE584}" sibTransId="{4F6AABCF-F62C-47AB-BFA0-99356CF7554A}"/>
    <dgm:cxn modelId="{6444E8FD-654F-4818-B633-EDBF8BE73CC1}" srcId="{34F4DE22-50D0-403A-957E-AACFFE6624EE}" destId="{88495B68-B375-4084-8A7D-01B5106B9EE7}" srcOrd="1" destOrd="0" parTransId="{C7CF0FBE-2968-4E9A-AF40-F110482D2997}" sibTransId="{C4578476-5018-4F34-9F62-D8F173E89F2E}"/>
    <dgm:cxn modelId="{F9A95760-65A7-43F2-BAC6-BCC196575FDE}" type="presParOf" srcId="{49C131E6-F6AF-4C8D-8E4B-B5CFCFD798DB}" destId="{49E325AC-8D3A-4294-9EF5-A8A8C3950E14}" srcOrd="0" destOrd="0" presId="urn:microsoft.com/office/officeart/2005/8/layout/default"/>
    <dgm:cxn modelId="{C79803F9-5F2B-4989-8401-F0B8C8FEA897}" type="presParOf" srcId="{49C131E6-F6AF-4C8D-8E4B-B5CFCFD798DB}" destId="{3C0780D3-CC67-4581-896B-AEAF204F5957}" srcOrd="1" destOrd="0" presId="urn:microsoft.com/office/officeart/2005/8/layout/default"/>
    <dgm:cxn modelId="{4886D5A3-4200-4DDC-9347-42CB75963046}" type="presParOf" srcId="{49C131E6-F6AF-4C8D-8E4B-B5CFCFD798DB}" destId="{81D3062E-97C5-426C-8423-DFD2000067BC}" srcOrd="2" destOrd="0" presId="urn:microsoft.com/office/officeart/2005/8/layout/default"/>
    <dgm:cxn modelId="{D9303188-688B-41AE-A839-3B1B882B1D43}" type="presParOf" srcId="{49C131E6-F6AF-4C8D-8E4B-B5CFCFD798DB}" destId="{C2632FE4-B700-4C97-B664-4336F4AF011B}" srcOrd="3" destOrd="0" presId="urn:microsoft.com/office/officeart/2005/8/layout/default"/>
    <dgm:cxn modelId="{DD6EBE3A-9D6D-4207-95C6-7A693A8136F4}" type="presParOf" srcId="{49C131E6-F6AF-4C8D-8E4B-B5CFCFD798DB}" destId="{0132F874-C78D-4B56-8C4E-BB3CDC7C9DEA}" srcOrd="4" destOrd="0" presId="urn:microsoft.com/office/officeart/2005/8/layout/default"/>
    <dgm:cxn modelId="{ED8F69B5-F54F-446D-8373-C61D9D770E32}" type="presParOf" srcId="{49C131E6-F6AF-4C8D-8E4B-B5CFCFD798DB}" destId="{73F11DB1-CA25-448B-984C-6072CE23BB8F}" srcOrd="5" destOrd="0" presId="urn:microsoft.com/office/officeart/2005/8/layout/default"/>
    <dgm:cxn modelId="{2046FB59-A2A8-486F-83DF-5EDA9A72A55B}" type="presParOf" srcId="{49C131E6-F6AF-4C8D-8E4B-B5CFCFD798DB}" destId="{BCBFA930-B302-48A7-813C-4590F65F6EB4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3510202-6F54-4AD7-A126-FE922027B7CC}" type="doc">
      <dgm:prSet loTypeId="urn:microsoft.com/office/officeart/2017/3/layout/DropPinTimeline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016E3CE-51DE-4F06-ABD3-BC1E28B172FF}">
      <dgm:prSet/>
      <dgm:spPr/>
      <dgm:t>
        <a:bodyPr/>
        <a:lstStyle/>
        <a:p>
          <a:pPr>
            <a:defRPr b="1"/>
          </a:pPr>
          <a:r>
            <a:rPr lang="en-US" dirty="0" err="1"/>
            <a:t>Oktober</a:t>
          </a:r>
          <a:r>
            <a:rPr lang="en-US" dirty="0"/>
            <a:t> 2021</a:t>
          </a:r>
        </a:p>
      </dgm:t>
    </dgm:pt>
    <dgm:pt modelId="{7646E87F-5D78-4516-9204-D7E63719E5D9}" type="parTrans" cxnId="{36A98AB3-D518-4C0E-8B97-ED48C5592CA5}">
      <dgm:prSet/>
      <dgm:spPr/>
      <dgm:t>
        <a:bodyPr/>
        <a:lstStyle/>
        <a:p>
          <a:endParaRPr lang="en-US"/>
        </a:p>
      </dgm:t>
    </dgm:pt>
    <dgm:pt modelId="{1AFBD384-5193-4324-9194-3884A286D818}" type="sibTrans" cxnId="{36A98AB3-D518-4C0E-8B97-ED48C5592CA5}">
      <dgm:prSet/>
      <dgm:spPr/>
      <dgm:t>
        <a:bodyPr/>
        <a:lstStyle/>
        <a:p>
          <a:endParaRPr lang="en-US"/>
        </a:p>
      </dgm:t>
    </dgm:pt>
    <dgm:pt modelId="{14BA211B-0E93-45BB-BB69-0039A790FFFB}">
      <dgm:prSet/>
      <dgm:spPr/>
      <dgm:t>
        <a:bodyPr/>
        <a:lstStyle/>
        <a:p>
          <a:r>
            <a:rPr lang="en-US" dirty="0" err="1"/>
            <a:t>Oppstart</a:t>
          </a:r>
          <a:r>
            <a:rPr lang="en-US" dirty="0"/>
            <a:t> Matthew Rix Whiting</a:t>
          </a:r>
        </a:p>
      </dgm:t>
    </dgm:pt>
    <dgm:pt modelId="{A901FB22-C491-4702-9DE6-17360F69DA74}" type="parTrans" cxnId="{32ED8348-ABFA-44F7-911E-7A0C2FEF0444}">
      <dgm:prSet/>
      <dgm:spPr/>
      <dgm:t>
        <a:bodyPr/>
        <a:lstStyle/>
        <a:p>
          <a:endParaRPr lang="en-US"/>
        </a:p>
      </dgm:t>
    </dgm:pt>
    <dgm:pt modelId="{D4ABBF5B-DD61-4B1F-9225-7725DF6709D9}" type="sibTrans" cxnId="{32ED8348-ABFA-44F7-911E-7A0C2FEF0444}">
      <dgm:prSet/>
      <dgm:spPr/>
      <dgm:t>
        <a:bodyPr/>
        <a:lstStyle/>
        <a:p>
          <a:endParaRPr lang="en-US"/>
        </a:p>
      </dgm:t>
    </dgm:pt>
    <dgm:pt modelId="{191012D2-9E4D-46C4-B72F-947FFA7B2BE2}">
      <dgm:prSet/>
      <dgm:spPr/>
      <dgm:t>
        <a:bodyPr/>
        <a:lstStyle/>
        <a:p>
          <a:pPr>
            <a:defRPr b="1"/>
          </a:pPr>
          <a:r>
            <a:rPr lang="en-US" dirty="0" err="1"/>
            <a:t>Januar</a:t>
          </a:r>
          <a:r>
            <a:rPr lang="en-US" dirty="0"/>
            <a:t> 2022</a:t>
          </a:r>
        </a:p>
      </dgm:t>
    </dgm:pt>
    <dgm:pt modelId="{5B1C7BD9-7A24-4E0B-B3A0-AB47C7AE6057}" type="parTrans" cxnId="{F24BE64D-EC46-4C8F-9DDE-35FD1D42360B}">
      <dgm:prSet/>
      <dgm:spPr/>
      <dgm:t>
        <a:bodyPr/>
        <a:lstStyle/>
        <a:p>
          <a:endParaRPr lang="en-US"/>
        </a:p>
      </dgm:t>
    </dgm:pt>
    <dgm:pt modelId="{15B0CE39-5FCE-48FB-8426-D0AA63CDB8B6}" type="sibTrans" cxnId="{F24BE64D-EC46-4C8F-9DDE-35FD1D42360B}">
      <dgm:prSet/>
      <dgm:spPr/>
      <dgm:t>
        <a:bodyPr/>
        <a:lstStyle/>
        <a:p>
          <a:endParaRPr lang="en-US"/>
        </a:p>
      </dgm:t>
    </dgm:pt>
    <dgm:pt modelId="{66501494-9361-48F0-9D82-22D1C5EEBD5C}">
      <dgm:prSet/>
      <dgm:spPr/>
      <dgm:t>
        <a:bodyPr/>
        <a:lstStyle/>
        <a:p>
          <a:r>
            <a:rPr lang="en-US" dirty="0"/>
            <a:t>EILIN </a:t>
          </a:r>
          <a:r>
            <a:rPr lang="en-US" dirty="0" err="1"/>
            <a:t>Førstelinje</a:t>
          </a:r>
          <a:r>
            <a:rPr lang="en-US" dirty="0"/>
            <a:t> </a:t>
          </a:r>
          <a:r>
            <a:rPr lang="en-US" dirty="0" err="1"/>
            <a:t>etablert</a:t>
          </a:r>
          <a:endParaRPr lang="en-US" dirty="0"/>
        </a:p>
      </dgm:t>
    </dgm:pt>
    <dgm:pt modelId="{C3287F46-9C69-418D-8052-30B726918AB2}" type="parTrans" cxnId="{E29F9D9D-C659-4C39-83D1-718184742037}">
      <dgm:prSet/>
      <dgm:spPr/>
      <dgm:t>
        <a:bodyPr/>
        <a:lstStyle/>
        <a:p>
          <a:endParaRPr lang="en-US"/>
        </a:p>
      </dgm:t>
    </dgm:pt>
    <dgm:pt modelId="{7633B908-7827-4932-A695-E429674136ED}" type="sibTrans" cxnId="{E29F9D9D-C659-4C39-83D1-718184742037}">
      <dgm:prSet/>
      <dgm:spPr/>
      <dgm:t>
        <a:bodyPr/>
        <a:lstStyle/>
        <a:p>
          <a:endParaRPr lang="en-US"/>
        </a:p>
      </dgm:t>
    </dgm:pt>
    <dgm:pt modelId="{F538BD81-5286-4276-9245-CDD5744E14F0}">
      <dgm:prSet/>
      <dgm:spPr/>
      <dgm:t>
        <a:bodyPr/>
        <a:lstStyle/>
        <a:p>
          <a:pPr>
            <a:defRPr b="1"/>
          </a:pPr>
          <a:r>
            <a:rPr lang="en-US" dirty="0"/>
            <a:t>Mars 2022</a:t>
          </a:r>
        </a:p>
      </dgm:t>
    </dgm:pt>
    <dgm:pt modelId="{E49160A5-F211-4279-9B5C-D2AC11A4A328}" type="parTrans" cxnId="{92926351-B9F5-43FA-BBB0-F79A77107516}">
      <dgm:prSet/>
      <dgm:spPr/>
      <dgm:t>
        <a:bodyPr/>
        <a:lstStyle/>
        <a:p>
          <a:endParaRPr lang="en-US"/>
        </a:p>
      </dgm:t>
    </dgm:pt>
    <dgm:pt modelId="{7C58EABC-0F6F-4D16-8049-3F9383D618BE}" type="sibTrans" cxnId="{92926351-B9F5-43FA-BBB0-F79A77107516}">
      <dgm:prSet/>
      <dgm:spPr/>
      <dgm:t>
        <a:bodyPr/>
        <a:lstStyle/>
        <a:p>
          <a:endParaRPr lang="en-US"/>
        </a:p>
      </dgm:t>
    </dgm:pt>
    <dgm:pt modelId="{0BD7B9BB-6CDA-44DF-AE73-9DCD4FB5F4CA}">
      <dgm:prSet/>
      <dgm:spPr/>
      <dgm:t>
        <a:bodyPr/>
        <a:lstStyle/>
        <a:p>
          <a:r>
            <a:rPr lang="en-US" dirty="0" err="1"/>
            <a:t>Oppstart</a:t>
          </a:r>
          <a:r>
            <a:rPr lang="en-US" dirty="0"/>
            <a:t> Siri Aamodt</a:t>
          </a:r>
        </a:p>
      </dgm:t>
    </dgm:pt>
    <dgm:pt modelId="{BE069514-0B0F-4CF2-A270-F7E3C1A1D55E}" type="parTrans" cxnId="{0B9F9C18-1E32-48C9-B6F2-0CA9D08B3884}">
      <dgm:prSet/>
      <dgm:spPr/>
      <dgm:t>
        <a:bodyPr/>
        <a:lstStyle/>
        <a:p>
          <a:endParaRPr lang="en-US"/>
        </a:p>
      </dgm:t>
    </dgm:pt>
    <dgm:pt modelId="{D32EC385-9D2B-45F3-A23D-CE10F678AC89}" type="sibTrans" cxnId="{0B9F9C18-1E32-48C9-B6F2-0CA9D08B3884}">
      <dgm:prSet/>
      <dgm:spPr/>
      <dgm:t>
        <a:bodyPr/>
        <a:lstStyle/>
        <a:p>
          <a:endParaRPr lang="en-US"/>
        </a:p>
      </dgm:t>
    </dgm:pt>
    <dgm:pt modelId="{92B7256C-80AE-43E2-9FBF-FD987136A877}">
      <dgm:prSet/>
      <dgm:spPr/>
      <dgm:t>
        <a:bodyPr/>
        <a:lstStyle/>
        <a:p>
          <a:r>
            <a:rPr lang="en-US" dirty="0" err="1"/>
            <a:t>Læringskontaktnettverket</a:t>
          </a:r>
          <a:r>
            <a:rPr lang="en-US" dirty="0"/>
            <a:t> </a:t>
          </a:r>
          <a:r>
            <a:rPr lang="en-US" dirty="0" err="1"/>
            <a:t>etablert</a:t>
          </a:r>
          <a:endParaRPr lang="en-US" dirty="0"/>
        </a:p>
      </dgm:t>
    </dgm:pt>
    <dgm:pt modelId="{1874712C-CB94-4178-B21F-EB49D55CE268}" type="parTrans" cxnId="{8A36EE64-B039-40BF-AB17-A0CCB31A27E4}">
      <dgm:prSet/>
      <dgm:spPr/>
      <dgm:t>
        <a:bodyPr/>
        <a:lstStyle/>
        <a:p>
          <a:endParaRPr lang="en-US"/>
        </a:p>
      </dgm:t>
    </dgm:pt>
    <dgm:pt modelId="{2F548C39-891D-4C3E-B851-218613323932}" type="sibTrans" cxnId="{8A36EE64-B039-40BF-AB17-A0CCB31A27E4}">
      <dgm:prSet/>
      <dgm:spPr/>
      <dgm:t>
        <a:bodyPr/>
        <a:lstStyle/>
        <a:p>
          <a:endParaRPr lang="en-US"/>
        </a:p>
      </dgm:t>
    </dgm:pt>
    <dgm:pt modelId="{28598768-4756-48DE-A12B-41D45793CC5C}">
      <dgm:prSet/>
      <dgm:spPr/>
      <dgm:t>
        <a:bodyPr/>
        <a:lstStyle/>
        <a:p>
          <a:pPr>
            <a:defRPr b="1"/>
          </a:pPr>
          <a:r>
            <a:rPr lang="en-US" dirty="0"/>
            <a:t>Mars 2023</a:t>
          </a:r>
        </a:p>
      </dgm:t>
    </dgm:pt>
    <dgm:pt modelId="{65DBD537-3B90-411F-8059-925F589C5CB9}" type="parTrans" cxnId="{B02D46D6-66F5-4334-860E-A2279149257B}">
      <dgm:prSet/>
      <dgm:spPr/>
      <dgm:t>
        <a:bodyPr/>
        <a:lstStyle/>
        <a:p>
          <a:endParaRPr lang="nb-NO"/>
        </a:p>
      </dgm:t>
    </dgm:pt>
    <dgm:pt modelId="{5B77933F-0342-4613-97D2-0130697AD551}" type="sibTrans" cxnId="{B02D46D6-66F5-4334-860E-A2279149257B}">
      <dgm:prSet/>
      <dgm:spPr/>
      <dgm:t>
        <a:bodyPr/>
        <a:lstStyle/>
        <a:p>
          <a:endParaRPr lang="nb-NO"/>
        </a:p>
      </dgm:t>
    </dgm:pt>
    <dgm:pt modelId="{045C1DD5-1328-483C-B92C-C3FD8C32F1D0}">
      <dgm:prSet/>
      <dgm:spPr/>
      <dgm:t>
        <a:bodyPr/>
        <a:lstStyle/>
        <a:p>
          <a:r>
            <a:rPr lang="en-US" dirty="0"/>
            <a:t>AI Task Force </a:t>
          </a:r>
          <a:r>
            <a:rPr lang="en-US" dirty="0" err="1"/>
            <a:t>etablert</a:t>
          </a:r>
          <a:endParaRPr lang="en-US" dirty="0"/>
        </a:p>
      </dgm:t>
    </dgm:pt>
    <dgm:pt modelId="{D28E007A-57D4-4907-A63D-93F1F8748878}" type="parTrans" cxnId="{3301B6A4-4A48-434C-8766-A480867BE259}">
      <dgm:prSet/>
      <dgm:spPr/>
      <dgm:t>
        <a:bodyPr/>
        <a:lstStyle/>
        <a:p>
          <a:endParaRPr lang="nb-NO"/>
        </a:p>
      </dgm:t>
    </dgm:pt>
    <dgm:pt modelId="{1FF1DFE1-F124-4FED-9ABC-66E261D7BB99}" type="sibTrans" cxnId="{3301B6A4-4A48-434C-8766-A480867BE259}">
      <dgm:prSet/>
      <dgm:spPr/>
      <dgm:t>
        <a:bodyPr/>
        <a:lstStyle/>
        <a:p>
          <a:endParaRPr lang="nb-NO"/>
        </a:p>
      </dgm:t>
    </dgm:pt>
    <dgm:pt modelId="{BBBAD9C8-2513-47F2-B717-58F825266526}">
      <dgm:prSet/>
      <dgm:spPr/>
      <dgm:t>
        <a:bodyPr/>
        <a:lstStyle/>
        <a:p>
          <a:pPr>
            <a:defRPr b="1"/>
          </a:pPr>
          <a:r>
            <a:rPr lang="en-US" dirty="0"/>
            <a:t>August 2023</a:t>
          </a:r>
        </a:p>
      </dgm:t>
    </dgm:pt>
    <dgm:pt modelId="{13896ACB-95F0-4390-A898-166681F0D08A}" type="parTrans" cxnId="{75E72268-A699-4D1C-9EC1-81498767D872}">
      <dgm:prSet/>
      <dgm:spPr/>
      <dgm:t>
        <a:bodyPr/>
        <a:lstStyle/>
        <a:p>
          <a:endParaRPr lang="nb-NO"/>
        </a:p>
      </dgm:t>
    </dgm:pt>
    <dgm:pt modelId="{4DBD1626-6A68-4DE2-9505-89B5A97E3CB1}" type="sibTrans" cxnId="{75E72268-A699-4D1C-9EC1-81498767D872}">
      <dgm:prSet/>
      <dgm:spPr/>
      <dgm:t>
        <a:bodyPr/>
        <a:lstStyle/>
        <a:p>
          <a:endParaRPr lang="nb-NO"/>
        </a:p>
      </dgm:t>
    </dgm:pt>
    <dgm:pt modelId="{CB268FA8-4B02-4FDD-A5B9-3965B5268A99}">
      <dgm:prSet/>
      <dgm:spPr/>
      <dgm:t>
        <a:bodyPr/>
        <a:lstStyle/>
        <a:p>
          <a:pPr>
            <a:defRPr b="1"/>
          </a:pPr>
          <a:r>
            <a:rPr lang="en-US" dirty="0" err="1"/>
            <a:t>Desember</a:t>
          </a:r>
          <a:r>
            <a:rPr lang="en-US" dirty="0"/>
            <a:t> 2023</a:t>
          </a:r>
        </a:p>
      </dgm:t>
    </dgm:pt>
    <dgm:pt modelId="{3435D919-A421-4414-A5DF-984292956548}" type="parTrans" cxnId="{09AA22EC-350F-4830-9BFE-F236E071D121}">
      <dgm:prSet/>
      <dgm:spPr/>
      <dgm:t>
        <a:bodyPr/>
        <a:lstStyle/>
        <a:p>
          <a:endParaRPr lang="nb-NO"/>
        </a:p>
      </dgm:t>
    </dgm:pt>
    <dgm:pt modelId="{F8EC4010-1606-47B1-96D7-A7AA5F892C58}" type="sibTrans" cxnId="{09AA22EC-350F-4830-9BFE-F236E071D121}">
      <dgm:prSet/>
      <dgm:spPr/>
      <dgm:t>
        <a:bodyPr/>
        <a:lstStyle/>
        <a:p>
          <a:endParaRPr lang="nb-NO"/>
        </a:p>
      </dgm:t>
    </dgm:pt>
    <dgm:pt modelId="{F87306E0-9275-4426-AF1E-6C18C003742B}">
      <dgm:prSet/>
      <dgm:spPr/>
      <dgm:t>
        <a:bodyPr/>
        <a:lstStyle/>
        <a:p>
          <a:r>
            <a:rPr lang="en-US" dirty="0" err="1"/>
            <a:t>Oppstart</a:t>
          </a:r>
          <a:r>
            <a:rPr lang="en-US" dirty="0"/>
            <a:t> Rom for </a:t>
          </a:r>
          <a:r>
            <a:rPr lang="en-US" dirty="0" err="1"/>
            <a:t>læring</a:t>
          </a:r>
          <a:r>
            <a:rPr lang="en-US" dirty="0"/>
            <a:t> (</a:t>
          </a:r>
          <a:r>
            <a:rPr lang="en-US" dirty="0" err="1"/>
            <a:t>oppgradering</a:t>
          </a:r>
          <a:r>
            <a:rPr lang="en-US" dirty="0"/>
            <a:t> av </a:t>
          </a:r>
          <a:r>
            <a:rPr lang="en-US" dirty="0" err="1"/>
            <a:t>seminarrom</a:t>
          </a:r>
          <a:r>
            <a:rPr lang="en-US" dirty="0"/>
            <a:t>) </a:t>
          </a:r>
        </a:p>
      </dgm:t>
    </dgm:pt>
    <dgm:pt modelId="{B3739B0E-BD2E-4C9B-A5E7-1E568877C223}" type="parTrans" cxnId="{0E94EFF3-3760-46C7-AED4-AE77DE19DB89}">
      <dgm:prSet/>
      <dgm:spPr/>
      <dgm:t>
        <a:bodyPr/>
        <a:lstStyle/>
        <a:p>
          <a:endParaRPr lang="nb-NO"/>
        </a:p>
      </dgm:t>
    </dgm:pt>
    <dgm:pt modelId="{13993670-B736-4367-9A63-83F5448FC301}" type="sibTrans" cxnId="{0E94EFF3-3760-46C7-AED4-AE77DE19DB89}">
      <dgm:prSet/>
      <dgm:spPr/>
      <dgm:t>
        <a:bodyPr/>
        <a:lstStyle/>
        <a:p>
          <a:endParaRPr lang="nb-NO"/>
        </a:p>
      </dgm:t>
    </dgm:pt>
    <dgm:pt modelId="{56C25576-E640-4E87-B58C-D8EA1A74B9F7}">
      <dgm:prSet/>
      <dgm:spPr/>
      <dgm:t>
        <a:bodyPr/>
        <a:lstStyle/>
        <a:p>
          <a:r>
            <a:rPr lang="en-US" dirty="0" err="1"/>
            <a:t>Evaluering</a:t>
          </a:r>
          <a:r>
            <a:rPr lang="en-US" dirty="0"/>
            <a:t> </a:t>
          </a:r>
          <a:r>
            <a:rPr lang="en-US" dirty="0" err="1"/>
            <a:t>og</a:t>
          </a:r>
          <a:r>
            <a:rPr lang="en-US" dirty="0"/>
            <a:t> </a:t>
          </a:r>
          <a:r>
            <a:rPr lang="en-US" dirty="0" err="1"/>
            <a:t>dimensjonering</a:t>
          </a:r>
          <a:endParaRPr lang="en-US" dirty="0"/>
        </a:p>
      </dgm:t>
    </dgm:pt>
    <dgm:pt modelId="{29AA01B8-338B-4A7A-91C8-569C3053CECF}" type="parTrans" cxnId="{FDB453B4-DADE-4E9B-8F56-14EFE0CEE93A}">
      <dgm:prSet/>
      <dgm:spPr/>
      <dgm:t>
        <a:bodyPr/>
        <a:lstStyle/>
        <a:p>
          <a:endParaRPr lang="nb-NO"/>
        </a:p>
      </dgm:t>
    </dgm:pt>
    <dgm:pt modelId="{52D20449-CA4D-4AF4-96FD-E3B1994E2C8A}" type="sibTrans" cxnId="{FDB453B4-DADE-4E9B-8F56-14EFE0CEE93A}">
      <dgm:prSet/>
      <dgm:spPr/>
      <dgm:t>
        <a:bodyPr/>
        <a:lstStyle/>
        <a:p>
          <a:endParaRPr lang="nb-NO"/>
        </a:p>
      </dgm:t>
    </dgm:pt>
    <dgm:pt modelId="{5AA7CCC0-9125-4983-8D38-C20E9A494474}">
      <dgm:prSet/>
      <dgm:spPr/>
      <dgm:t>
        <a:bodyPr/>
        <a:lstStyle/>
        <a:p>
          <a:pPr>
            <a:defRPr b="1"/>
          </a:pPr>
          <a:r>
            <a:rPr lang="en-US" dirty="0"/>
            <a:t>September 2022</a:t>
          </a:r>
        </a:p>
      </dgm:t>
    </dgm:pt>
    <dgm:pt modelId="{FE3D984E-DDDC-472D-892E-49E666535B32}" type="parTrans" cxnId="{6B7B73E5-73C3-43DD-9435-ACAE28AEFC75}">
      <dgm:prSet/>
      <dgm:spPr/>
      <dgm:t>
        <a:bodyPr/>
        <a:lstStyle/>
        <a:p>
          <a:endParaRPr lang="nb-NO"/>
        </a:p>
      </dgm:t>
    </dgm:pt>
    <dgm:pt modelId="{7E2269FA-2B27-432F-B895-9CE4D9898700}" type="sibTrans" cxnId="{6B7B73E5-73C3-43DD-9435-ACAE28AEFC75}">
      <dgm:prSet/>
      <dgm:spPr/>
      <dgm:t>
        <a:bodyPr/>
        <a:lstStyle/>
        <a:p>
          <a:endParaRPr lang="nb-NO"/>
        </a:p>
      </dgm:t>
    </dgm:pt>
    <dgm:pt modelId="{FADB7751-DAC0-43E5-A6CA-C99F664C9C7C}">
      <dgm:prSet/>
      <dgm:spPr/>
      <dgm:t>
        <a:bodyPr/>
        <a:lstStyle/>
        <a:p>
          <a:pPr>
            <a:defRPr b="1"/>
          </a:pPr>
          <a:r>
            <a:rPr lang="en-US" dirty="0" err="1"/>
            <a:t>Juni</a:t>
          </a:r>
          <a:r>
            <a:rPr lang="en-US" dirty="0"/>
            <a:t> 2022</a:t>
          </a:r>
        </a:p>
      </dgm:t>
    </dgm:pt>
    <dgm:pt modelId="{75934F50-41F5-4016-938C-4A11A94B96AA}" type="parTrans" cxnId="{7C8BE25C-CCF3-4B3A-816C-F79E0B895FFA}">
      <dgm:prSet/>
      <dgm:spPr/>
      <dgm:t>
        <a:bodyPr/>
        <a:lstStyle/>
        <a:p>
          <a:endParaRPr lang="nb-NO"/>
        </a:p>
      </dgm:t>
    </dgm:pt>
    <dgm:pt modelId="{D9033B08-7267-4505-9552-E7792EB20EFE}" type="sibTrans" cxnId="{7C8BE25C-CCF3-4B3A-816C-F79E0B895FFA}">
      <dgm:prSet/>
      <dgm:spPr/>
      <dgm:t>
        <a:bodyPr/>
        <a:lstStyle/>
        <a:p>
          <a:endParaRPr lang="nb-NO"/>
        </a:p>
      </dgm:t>
    </dgm:pt>
    <dgm:pt modelId="{71B9D8F4-7453-4932-92BF-F5A7A5FE561A}">
      <dgm:prSet/>
      <dgm:spPr/>
      <dgm:t>
        <a:bodyPr/>
        <a:lstStyle/>
        <a:p>
          <a:r>
            <a:rPr lang="en-US" dirty="0"/>
            <a:t>SK-ITU </a:t>
          </a:r>
          <a:r>
            <a:rPr lang="en-US" dirty="0" err="1"/>
            <a:t>tildeling</a:t>
          </a:r>
          <a:r>
            <a:rPr lang="en-US" dirty="0"/>
            <a:t>: </a:t>
          </a:r>
          <a:r>
            <a:rPr lang="en-US" dirty="0" err="1"/>
            <a:t>Studentmedarbeidere</a:t>
          </a:r>
          <a:endParaRPr lang="en-US" dirty="0"/>
        </a:p>
      </dgm:t>
    </dgm:pt>
    <dgm:pt modelId="{254F1BD4-3B0B-482D-AE54-DFFD2FD6577A}" type="parTrans" cxnId="{EA259D0E-3532-4096-B375-55212BC061C1}">
      <dgm:prSet/>
      <dgm:spPr/>
      <dgm:t>
        <a:bodyPr/>
        <a:lstStyle/>
        <a:p>
          <a:endParaRPr lang="nb-NO"/>
        </a:p>
      </dgm:t>
    </dgm:pt>
    <dgm:pt modelId="{125CB4EA-2939-4D07-A2E5-CFAB93F6C5FE}" type="sibTrans" cxnId="{EA259D0E-3532-4096-B375-55212BC061C1}">
      <dgm:prSet/>
      <dgm:spPr/>
      <dgm:t>
        <a:bodyPr/>
        <a:lstStyle/>
        <a:p>
          <a:endParaRPr lang="nb-NO"/>
        </a:p>
      </dgm:t>
    </dgm:pt>
    <dgm:pt modelId="{5EFDE009-8A18-451E-85A0-A065ADBFB852}">
      <dgm:prSet/>
      <dgm:spPr/>
      <dgm:t>
        <a:bodyPr/>
        <a:lstStyle/>
        <a:p>
          <a:pPr>
            <a:defRPr b="1"/>
          </a:pPr>
          <a:r>
            <a:rPr lang="en-US" dirty="0"/>
            <a:t>Primo 2021</a:t>
          </a:r>
        </a:p>
      </dgm:t>
    </dgm:pt>
    <dgm:pt modelId="{4DFF7513-CBC8-479A-8913-7D53C2EBBDED}" type="parTrans" cxnId="{03F711E0-4C52-4211-A320-80F1D02C22CB}">
      <dgm:prSet/>
      <dgm:spPr/>
      <dgm:t>
        <a:bodyPr/>
        <a:lstStyle/>
        <a:p>
          <a:endParaRPr lang="nb-NO"/>
        </a:p>
      </dgm:t>
    </dgm:pt>
    <dgm:pt modelId="{F3781ABB-BA97-46B1-AA36-47322735DBF9}" type="sibTrans" cxnId="{03F711E0-4C52-4211-A320-80F1D02C22CB}">
      <dgm:prSet/>
      <dgm:spPr/>
      <dgm:t>
        <a:bodyPr/>
        <a:lstStyle/>
        <a:p>
          <a:endParaRPr lang="nb-NO"/>
        </a:p>
      </dgm:t>
    </dgm:pt>
    <dgm:pt modelId="{89CB0FC2-7C71-4DDF-AE62-36FC1FD7C718}">
      <dgm:prSet/>
      <dgm:spPr/>
      <dgm:t>
        <a:bodyPr/>
        <a:lstStyle/>
        <a:p>
          <a:r>
            <a:rPr lang="en-US" dirty="0"/>
            <a:t>SK-ITU </a:t>
          </a:r>
          <a:r>
            <a:rPr lang="en-US" dirty="0" err="1"/>
            <a:t>tildeling</a:t>
          </a:r>
          <a:r>
            <a:rPr lang="en-US" dirty="0"/>
            <a:t> </a:t>
          </a:r>
          <a:r>
            <a:rPr lang="en-US" dirty="0" err="1"/>
            <a:t>til</a:t>
          </a:r>
          <a:r>
            <a:rPr lang="en-US" dirty="0"/>
            <a:t> </a:t>
          </a:r>
          <a:r>
            <a:rPr lang="en-US" dirty="0" err="1"/>
            <a:t>etableringen</a:t>
          </a:r>
          <a:r>
            <a:rPr lang="en-US" dirty="0"/>
            <a:t> av EILIN</a:t>
          </a:r>
        </a:p>
      </dgm:t>
    </dgm:pt>
    <dgm:pt modelId="{BDBE51D8-78C9-4F70-93F7-A2916F3EB6E1}" type="parTrans" cxnId="{106F6AC9-7DF3-40BD-8129-F521FEAE40FE}">
      <dgm:prSet/>
      <dgm:spPr/>
      <dgm:t>
        <a:bodyPr/>
        <a:lstStyle/>
        <a:p>
          <a:endParaRPr lang="nb-NO"/>
        </a:p>
      </dgm:t>
    </dgm:pt>
    <dgm:pt modelId="{B47A9868-61B3-48FD-A032-1852AE563634}" type="sibTrans" cxnId="{106F6AC9-7DF3-40BD-8129-F521FEAE40FE}">
      <dgm:prSet/>
      <dgm:spPr/>
      <dgm:t>
        <a:bodyPr/>
        <a:lstStyle/>
        <a:p>
          <a:endParaRPr lang="nb-NO"/>
        </a:p>
      </dgm:t>
    </dgm:pt>
    <dgm:pt modelId="{0089BE69-C4EF-4608-9E2A-E43D38EAE38C}" type="pres">
      <dgm:prSet presAssocID="{73510202-6F54-4AD7-A126-FE922027B7CC}" presName="root" presStyleCnt="0">
        <dgm:presLayoutVars>
          <dgm:chMax/>
          <dgm:chPref/>
          <dgm:animLvl val="lvl"/>
        </dgm:presLayoutVars>
      </dgm:prSet>
      <dgm:spPr/>
    </dgm:pt>
    <dgm:pt modelId="{C2B1F9C6-30CF-4CFF-A2DB-5C6A7F36226D}" type="pres">
      <dgm:prSet presAssocID="{73510202-6F54-4AD7-A126-FE922027B7CC}" presName="divider" presStyleLbl="fgAcc1" presStyleIdx="0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E1D808D3-BFA3-45FB-938A-38F103292635}" type="pres">
      <dgm:prSet presAssocID="{73510202-6F54-4AD7-A126-FE922027B7CC}" presName="nodes" presStyleCnt="0">
        <dgm:presLayoutVars>
          <dgm:chMax/>
          <dgm:chPref/>
          <dgm:animLvl val="lvl"/>
        </dgm:presLayoutVars>
      </dgm:prSet>
      <dgm:spPr/>
    </dgm:pt>
    <dgm:pt modelId="{E67696B3-994C-414E-B9C7-8FB9C4CBAAA5}" type="pres">
      <dgm:prSet presAssocID="{5EFDE009-8A18-451E-85A0-A065ADBFB852}" presName="composite" presStyleCnt="0"/>
      <dgm:spPr/>
    </dgm:pt>
    <dgm:pt modelId="{ECD14EC7-7A84-40C1-82A1-AF02051D4AF5}" type="pres">
      <dgm:prSet presAssocID="{5EFDE009-8A18-451E-85A0-A065ADBFB852}" presName="ConnectorPoint" presStyleLbl="lnNode1" presStyleIdx="0" presStyleCnt="9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B2703A30-41C2-4E9C-8EA0-61A7B1E4829D}" type="pres">
      <dgm:prSet presAssocID="{5EFDE009-8A18-451E-85A0-A065ADBFB852}" presName="DropPinPlaceHolder" presStyleCnt="0"/>
      <dgm:spPr/>
    </dgm:pt>
    <dgm:pt modelId="{67EBEEBC-84FE-42A8-B3B7-3EAD870B277B}" type="pres">
      <dgm:prSet presAssocID="{5EFDE009-8A18-451E-85A0-A065ADBFB852}" presName="DropPin" presStyleLbl="alignNode1" presStyleIdx="0" presStyleCnt="9"/>
      <dgm:spPr/>
    </dgm:pt>
    <dgm:pt modelId="{07F5BCD7-7FC7-40AB-8081-7D52DE42F45B}" type="pres">
      <dgm:prSet presAssocID="{5EFDE009-8A18-451E-85A0-A065ADBFB852}" presName="Ellipse" presStyleLbl="fgAcc1" presStyleIdx="1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3FCF91FD-D53A-409F-BDB2-1E14211304AA}" type="pres">
      <dgm:prSet presAssocID="{5EFDE009-8A18-451E-85A0-A065ADBFB852}" presName="L2TextContainer" presStyleLbl="revTx" presStyleIdx="0" presStyleCnt="18">
        <dgm:presLayoutVars>
          <dgm:bulletEnabled val="1"/>
        </dgm:presLayoutVars>
      </dgm:prSet>
      <dgm:spPr/>
    </dgm:pt>
    <dgm:pt modelId="{54122E80-DBBC-442C-832E-897B452C591F}" type="pres">
      <dgm:prSet presAssocID="{5EFDE009-8A18-451E-85A0-A065ADBFB852}" presName="L1TextContainer" presStyleLbl="revTx" presStyleIdx="1" presStyleCnt="18">
        <dgm:presLayoutVars>
          <dgm:chMax val="1"/>
          <dgm:chPref val="1"/>
          <dgm:bulletEnabled val="1"/>
        </dgm:presLayoutVars>
      </dgm:prSet>
      <dgm:spPr/>
    </dgm:pt>
    <dgm:pt modelId="{6C62B183-CA78-462A-BF72-DF85D4C04AE2}" type="pres">
      <dgm:prSet presAssocID="{5EFDE009-8A18-451E-85A0-A065ADBFB852}" presName="ConnectLine" presStyleLbl="sibTrans1D1" presStyleIdx="0" presStyleCnt="9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E3EB3173-9007-4E07-BA73-011AB7C60C8F}" type="pres">
      <dgm:prSet presAssocID="{5EFDE009-8A18-451E-85A0-A065ADBFB852}" presName="EmptyPlaceHolder" presStyleCnt="0"/>
      <dgm:spPr/>
    </dgm:pt>
    <dgm:pt modelId="{2927BBD0-2AA5-4913-8811-F20BE2DEE7A0}" type="pres">
      <dgm:prSet presAssocID="{F3781ABB-BA97-46B1-AA36-47322735DBF9}" presName="spaceBetweenRectangles" presStyleCnt="0"/>
      <dgm:spPr/>
    </dgm:pt>
    <dgm:pt modelId="{72AF5120-B592-4317-B6C9-38AFEB53373D}" type="pres">
      <dgm:prSet presAssocID="{F016E3CE-51DE-4F06-ABD3-BC1E28B172FF}" presName="composite" presStyleCnt="0"/>
      <dgm:spPr/>
    </dgm:pt>
    <dgm:pt modelId="{76C825B6-05E5-4AD9-829F-92DFFD4E673D}" type="pres">
      <dgm:prSet presAssocID="{F016E3CE-51DE-4F06-ABD3-BC1E28B172FF}" presName="ConnectorPoint" presStyleLbl="lnNode1" presStyleIdx="1" presStyleCnt="9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F1C51972-02B6-446E-AEE1-CFB94D166AB6}" type="pres">
      <dgm:prSet presAssocID="{F016E3CE-51DE-4F06-ABD3-BC1E28B172FF}" presName="DropPinPlaceHolder" presStyleCnt="0"/>
      <dgm:spPr/>
    </dgm:pt>
    <dgm:pt modelId="{CFB60744-1BB8-4029-BF0E-54A25726DC6B}" type="pres">
      <dgm:prSet presAssocID="{F016E3CE-51DE-4F06-ABD3-BC1E28B172FF}" presName="DropPin" presStyleLbl="alignNode1" presStyleIdx="1" presStyleCnt="9"/>
      <dgm:spPr/>
    </dgm:pt>
    <dgm:pt modelId="{4A5DA0C5-6940-4231-B055-21FFE1CB3E86}" type="pres">
      <dgm:prSet presAssocID="{F016E3CE-51DE-4F06-ABD3-BC1E28B172FF}" presName="Ellipse" presStyleLbl="fgAcc1" presStyleIdx="2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716EF3D9-950F-4DE0-8F32-6598AA829A44}" type="pres">
      <dgm:prSet presAssocID="{F016E3CE-51DE-4F06-ABD3-BC1E28B172FF}" presName="L2TextContainer" presStyleLbl="revTx" presStyleIdx="2" presStyleCnt="18">
        <dgm:presLayoutVars>
          <dgm:bulletEnabled val="1"/>
        </dgm:presLayoutVars>
      </dgm:prSet>
      <dgm:spPr/>
    </dgm:pt>
    <dgm:pt modelId="{1934EAB6-F902-4585-B161-469AB7852B8F}" type="pres">
      <dgm:prSet presAssocID="{F016E3CE-51DE-4F06-ABD3-BC1E28B172FF}" presName="L1TextContainer" presStyleLbl="revTx" presStyleIdx="3" presStyleCnt="18" custLinFactNeighborX="-778" custLinFactNeighborY="-11315">
        <dgm:presLayoutVars>
          <dgm:chMax val="1"/>
          <dgm:chPref val="1"/>
          <dgm:bulletEnabled val="1"/>
        </dgm:presLayoutVars>
      </dgm:prSet>
      <dgm:spPr/>
    </dgm:pt>
    <dgm:pt modelId="{0D8B5AA3-134A-45E6-8BEE-E17D59D31456}" type="pres">
      <dgm:prSet presAssocID="{F016E3CE-51DE-4F06-ABD3-BC1E28B172FF}" presName="ConnectLine" presStyleLbl="sibTrans1D1" presStyleIdx="1" presStyleCnt="9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D3E8562B-21BC-4AE8-9500-C59A6EEFAB54}" type="pres">
      <dgm:prSet presAssocID="{F016E3CE-51DE-4F06-ABD3-BC1E28B172FF}" presName="EmptyPlaceHolder" presStyleCnt="0"/>
      <dgm:spPr/>
    </dgm:pt>
    <dgm:pt modelId="{E045FE74-38F2-4F0A-A28E-F7B1D3046E3C}" type="pres">
      <dgm:prSet presAssocID="{1AFBD384-5193-4324-9194-3884A286D818}" presName="spaceBetweenRectangles" presStyleCnt="0"/>
      <dgm:spPr/>
    </dgm:pt>
    <dgm:pt modelId="{BA733983-AA8F-4CF6-8022-8D47FF42C871}" type="pres">
      <dgm:prSet presAssocID="{191012D2-9E4D-46C4-B72F-947FFA7B2BE2}" presName="composite" presStyleCnt="0"/>
      <dgm:spPr/>
    </dgm:pt>
    <dgm:pt modelId="{47B926EF-A0DE-4785-8653-7FB8EA7636D1}" type="pres">
      <dgm:prSet presAssocID="{191012D2-9E4D-46C4-B72F-947FFA7B2BE2}" presName="ConnectorPoint" presStyleLbl="lnNode1" presStyleIdx="2" presStyleCnt="9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45D4A4D2-9DBC-472A-81A2-3AE3CC27677B}" type="pres">
      <dgm:prSet presAssocID="{191012D2-9E4D-46C4-B72F-947FFA7B2BE2}" presName="DropPinPlaceHolder" presStyleCnt="0"/>
      <dgm:spPr/>
    </dgm:pt>
    <dgm:pt modelId="{94804FB4-EDD6-4325-A227-8261F8B5254A}" type="pres">
      <dgm:prSet presAssocID="{191012D2-9E4D-46C4-B72F-947FFA7B2BE2}" presName="DropPin" presStyleLbl="alignNode1" presStyleIdx="2" presStyleCnt="9"/>
      <dgm:spPr/>
    </dgm:pt>
    <dgm:pt modelId="{EB2403E6-0E42-432C-9961-2E5C75F4B1AA}" type="pres">
      <dgm:prSet presAssocID="{191012D2-9E4D-46C4-B72F-947FFA7B2BE2}" presName="Ellipse" presStyleLbl="fgAcc1" presStyleIdx="3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C8211C87-5648-406C-8BE0-76037BE4A259}" type="pres">
      <dgm:prSet presAssocID="{191012D2-9E4D-46C4-B72F-947FFA7B2BE2}" presName="L2TextContainer" presStyleLbl="revTx" presStyleIdx="4" presStyleCnt="18">
        <dgm:presLayoutVars>
          <dgm:bulletEnabled val="1"/>
        </dgm:presLayoutVars>
      </dgm:prSet>
      <dgm:spPr/>
    </dgm:pt>
    <dgm:pt modelId="{F5AE2273-90DA-45AB-B803-F2D526980448}" type="pres">
      <dgm:prSet presAssocID="{191012D2-9E4D-46C4-B72F-947FFA7B2BE2}" presName="L1TextContainer" presStyleLbl="revTx" presStyleIdx="5" presStyleCnt="18">
        <dgm:presLayoutVars>
          <dgm:chMax val="1"/>
          <dgm:chPref val="1"/>
          <dgm:bulletEnabled val="1"/>
        </dgm:presLayoutVars>
      </dgm:prSet>
      <dgm:spPr/>
    </dgm:pt>
    <dgm:pt modelId="{D0F97274-BEB8-4BC2-9833-23DAD7A7F27E}" type="pres">
      <dgm:prSet presAssocID="{191012D2-9E4D-46C4-B72F-947FFA7B2BE2}" presName="ConnectLine" presStyleLbl="sibTrans1D1" presStyleIdx="2" presStyleCnt="9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FC69C54-8E9E-4C94-ABD1-F5A681D3EB4C}" type="pres">
      <dgm:prSet presAssocID="{191012D2-9E4D-46C4-B72F-947FFA7B2BE2}" presName="EmptyPlaceHolder" presStyleCnt="0"/>
      <dgm:spPr/>
    </dgm:pt>
    <dgm:pt modelId="{42FB2CD2-2E4A-496F-B39B-7539B6DA5882}" type="pres">
      <dgm:prSet presAssocID="{15B0CE39-5FCE-48FB-8426-D0AA63CDB8B6}" presName="spaceBetweenRectangles" presStyleCnt="0"/>
      <dgm:spPr/>
    </dgm:pt>
    <dgm:pt modelId="{57597986-DD53-4CD5-878A-A4A8BAEC22DA}" type="pres">
      <dgm:prSet presAssocID="{F538BD81-5286-4276-9245-CDD5744E14F0}" presName="composite" presStyleCnt="0"/>
      <dgm:spPr/>
    </dgm:pt>
    <dgm:pt modelId="{EB470A4D-FD33-40A9-BB96-9351CF45A306}" type="pres">
      <dgm:prSet presAssocID="{F538BD81-5286-4276-9245-CDD5744E14F0}" presName="ConnectorPoint" presStyleLbl="lnNode1" presStyleIdx="3" presStyleCnt="9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145F6DC0-86FE-4D99-B392-8EB0F53F1084}" type="pres">
      <dgm:prSet presAssocID="{F538BD81-5286-4276-9245-CDD5744E14F0}" presName="DropPinPlaceHolder" presStyleCnt="0"/>
      <dgm:spPr/>
    </dgm:pt>
    <dgm:pt modelId="{D32DA62F-81C8-42C9-AFD8-C07F2CBBFA2E}" type="pres">
      <dgm:prSet presAssocID="{F538BD81-5286-4276-9245-CDD5744E14F0}" presName="DropPin" presStyleLbl="alignNode1" presStyleIdx="3" presStyleCnt="9"/>
      <dgm:spPr/>
    </dgm:pt>
    <dgm:pt modelId="{DDC2BEA6-DC72-412A-980B-35215CA1D668}" type="pres">
      <dgm:prSet presAssocID="{F538BD81-5286-4276-9245-CDD5744E14F0}" presName="Ellipse" presStyleLbl="fgAcc1" presStyleIdx="4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3DE851A7-408D-4855-A10A-8796B16D64C4}" type="pres">
      <dgm:prSet presAssocID="{F538BD81-5286-4276-9245-CDD5744E14F0}" presName="L2TextContainer" presStyleLbl="revTx" presStyleIdx="6" presStyleCnt="18">
        <dgm:presLayoutVars>
          <dgm:bulletEnabled val="1"/>
        </dgm:presLayoutVars>
      </dgm:prSet>
      <dgm:spPr/>
    </dgm:pt>
    <dgm:pt modelId="{718B8078-2D27-4CCE-AA55-AE1553F83A5F}" type="pres">
      <dgm:prSet presAssocID="{F538BD81-5286-4276-9245-CDD5744E14F0}" presName="L1TextContainer" presStyleLbl="revTx" presStyleIdx="7" presStyleCnt="18">
        <dgm:presLayoutVars>
          <dgm:chMax val="1"/>
          <dgm:chPref val="1"/>
          <dgm:bulletEnabled val="1"/>
        </dgm:presLayoutVars>
      </dgm:prSet>
      <dgm:spPr/>
    </dgm:pt>
    <dgm:pt modelId="{2CFD0626-F508-458E-AED9-096C52DC24E0}" type="pres">
      <dgm:prSet presAssocID="{F538BD81-5286-4276-9245-CDD5744E14F0}" presName="ConnectLine" presStyleLbl="sibTrans1D1" presStyleIdx="3" presStyleCnt="9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D3FCD921-A8DB-464C-BD10-1B3192FBBA00}" type="pres">
      <dgm:prSet presAssocID="{F538BD81-5286-4276-9245-CDD5744E14F0}" presName="EmptyPlaceHolder" presStyleCnt="0"/>
      <dgm:spPr/>
    </dgm:pt>
    <dgm:pt modelId="{8FF2CF38-22CB-45F6-BBB3-C514F7353EFB}" type="pres">
      <dgm:prSet presAssocID="{7C58EABC-0F6F-4D16-8049-3F9383D618BE}" presName="spaceBetweenRectangles" presStyleCnt="0"/>
      <dgm:spPr/>
    </dgm:pt>
    <dgm:pt modelId="{5D1C5CD6-E397-4CD2-8D08-C88CC39550CE}" type="pres">
      <dgm:prSet presAssocID="{FADB7751-DAC0-43E5-A6CA-C99F664C9C7C}" presName="composite" presStyleCnt="0"/>
      <dgm:spPr/>
    </dgm:pt>
    <dgm:pt modelId="{9C6D0A96-2197-436B-B6FB-E8F93A9F3E1D}" type="pres">
      <dgm:prSet presAssocID="{FADB7751-DAC0-43E5-A6CA-C99F664C9C7C}" presName="ConnectorPoint" presStyleLbl="lnNode1" presStyleIdx="4" presStyleCnt="9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6E357D99-D461-41E3-A871-755E684DE456}" type="pres">
      <dgm:prSet presAssocID="{FADB7751-DAC0-43E5-A6CA-C99F664C9C7C}" presName="DropPinPlaceHolder" presStyleCnt="0"/>
      <dgm:spPr/>
    </dgm:pt>
    <dgm:pt modelId="{140E677A-1C05-4069-B739-4A726EC10671}" type="pres">
      <dgm:prSet presAssocID="{FADB7751-DAC0-43E5-A6CA-C99F664C9C7C}" presName="DropPin" presStyleLbl="alignNode1" presStyleIdx="4" presStyleCnt="9"/>
      <dgm:spPr/>
    </dgm:pt>
    <dgm:pt modelId="{91426964-70AF-44EB-BDD6-3FADB714EDA8}" type="pres">
      <dgm:prSet presAssocID="{FADB7751-DAC0-43E5-A6CA-C99F664C9C7C}" presName="Ellipse" presStyleLbl="fgAcc1" presStyleIdx="5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3BF8BB8D-70AD-4C1B-8460-FB5A46911710}" type="pres">
      <dgm:prSet presAssocID="{FADB7751-DAC0-43E5-A6CA-C99F664C9C7C}" presName="L2TextContainer" presStyleLbl="revTx" presStyleIdx="8" presStyleCnt="18">
        <dgm:presLayoutVars>
          <dgm:bulletEnabled val="1"/>
        </dgm:presLayoutVars>
      </dgm:prSet>
      <dgm:spPr/>
    </dgm:pt>
    <dgm:pt modelId="{01DB1E00-653E-4FD9-A084-619169E638F5}" type="pres">
      <dgm:prSet presAssocID="{FADB7751-DAC0-43E5-A6CA-C99F664C9C7C}" presName="L1TextContainer" presStyleLbl="revTx" presStyleIdx="9" presStyleCnt="18">
        <dgm:presLayoutVars>
          <dgm:chMax val="1"/>
          <dgm:chPref val="1"/>
          <dgm:bulletEnabled val="1"/>
        </dgm:presLayoutVars>
      </dgm:prSet>
      <dgm:spPr/>
    </dgm:pt>
    <dgm:pt modelId="{799936B6-30E4-429A-8FD8-70E9917B20FB}" type="pres">
      <dgm:prSet presAssocID="{FADB7751-DAC0-43E5-A6CA-C99F664C9C7C}" presName="ConnectLine" presStyleLbl="sibTrans1D1" presStyleIdx="4" presStyleCnt="9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479D0CFF-CCED-437B-997D-3078583AC545}" type="pres">
      <dgm:prSet presAssocID="{FADB7751-DAC0-43E5-A6CA-C99F664C9C7C}" presName="EmptyPlaceHolder" presStyleCnt="0"/>
      <dgm:spPr/>
    </dgm:pt>
    <dgm:pt modelId="{6B3DC9EC-5A9F-4F04-9781-8D0D95817534}" type="pres">
      <dgm:prSet presAssocID="{D9033B08-7267-4505-9552-E7792EB20EFE}" presName="spaceBetweenRectangles" presStyleCnt="0"/>
      <dgm:spPr/>
    </dgm:pt>
    <dgm:pt modelId="{D45F54A0-088F-4C28-B458-A2C7B9700994}" type="pres">
      <dgm:prSet presAssocID="{5AA7CCC0-9125-4983-8D38-C20E9A494474}" presName="composite" presStyleCnt="0"/>
      <dgm:spPr/>
    </dgm:pt>
    <dgm:pt modelId="{9CBC95DC-19FD-42CD-997E-4B93660CFA13}" type="pres">
      <dgm:prSet presAssocID="{5AA7CCC0-9125-4983-8D38-C20E9A494474}" presName="ConnectorPoint" presStyleLbl="lnNode1" presStyleIdx="5" presStyleCnt="9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D51725DC-FDE8-471F-9384-3FE25D7898D6}" type="pres">
      <dgm:prSet presAssocID="{5AA7CCC0-9125-4983-8D38-C20E9A494474}" presName="DropPinPlaceHolder" presStyleCnt="0"/>
      <dgm:spPr/>
    </dgm:pt>
    <dgm:pt modelId="{ABD281EB-0657-4FEA-AF87-5CD44E981927}" type="pres">
      <dgm:prSet presAssocID="{5AA7CCC0-9125-4983-8D38-C20E9A494474}" presName="DropPin" presStyleLbl="alignNode1" presStyleIdx="5" presStyleCnt="9"/>
      <dgm:spPr/>
    </dgm:pt>
    <dgm:pt modelId="{4D8DE2C1-DED4-4D9C-A75C-3567DB584651}" type="pres">
      <dgm:prSet presAssocID="{5AA7CCC0-9125-4983-8D38-C20E9A494474}" presName="Ellipse" presStyleLbl="fgAcc1" presStyleIdx="6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54D29176-07D0-40B3-B26F-DC836015E1F2}" type="pres">
      <dgm:prSet presAssocID="{5AA7CCC0-9125-4983-8D38-C20E9A494474}" presName="L2TextContainer" presStyleLbl="revTx" presStyleIdx="10" presStyleCnt="18">
        <dgm:presLayoutVars>
          <dgm:bulletEnabled val="1"/>
        </dgm:presLayoutVars>
      </dgm:prSet>
      <dgm:spPr/>
    </dgm:pt>
    <dgm:pt modelId="{4698DDAC-5E52-4A16-A239-4564A0D23FCF}" type="pres">
      <dgm:prSet presAssocID="{5AA7CCC0-9125-4983-8D38-C20E9A494474}" presName="L1TextContainer" presStyleLbl="revTx" presStyleIdx="11" presStyleCnt="18">
        <dgm:presLayoutVars>
          <dgm:chMax val="1"/>
          <dgm:chPref val="1"/>
          <dgm:bulletEnabled val="1"/>
        </dgm:presLayoutVars>
      </dgm:prSet>
      <dgm:spPr/>
    </dgm:pt>
    <dgm:pt modelId="{76039910-098A-4293-9039-FED0189FAEA3}" type="pres">
      <dgm:prSet presAssocID="{5AA7CCC0-9125-4983-8D38-C20E9A494474}" presName="ConnectLine" presStyleLbl="sibTrans1D1" presStyleIdx="5" presStyleCnt="9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B45F4BDD-4836-4182-A543-34775DCD1B9B}" type="pres">
      <dgm:prSet presAssocID="{5AA7CCC0-9125-4983-8D38-C20E9A494474}" presName="EmptyPlaceHolder" presStyleCnt="0"/>
      <dgm:spPr/>
    </dgm:pt>
    <dgm:pt modelId="{44AF7D22-A9B9-4183-9513-E520069E48B8}" type="pres">
      <dgm:prSet presAssocID="{7E2269FA-2B27-432F-B895-9CE4D9898700}" presName="spaceBetweenRectangles" presStyleCnt="0"/>
      <dgm:spPr/>
    </dgm:pt>
    <dgm:pt modelId="{66F91826-CC62-45BE-BD7E-5E5230BE29FA}" type="pres">
      <dgm:prSet presAssocID="{28598768-4756-48DE-A12B-41D45793CC5C}" presName="composite" presStyleCnt="0"/>
      <dgm:spPr/>
    </dgm:pt>
    <dgm:pt modelId="{C597F31C-0B7E-484A-A59C-4E4420EDB70A}" type="pres">
      <dgm:prSet presAssocID="{28598768-4756-48DE-A12B-41D45793CC5C}" presName="ConnectorPoint" presStyleLbl="lnNode1" presStyleIdx="6" presStyleCnt="9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69B3C8D1-B96B-4B70-BEA7-13C2FD4F2D2E}" type="pres">
      <dgm:prSet presAssocID="{28598768-4756-48DE-A12B-41D45793CC5C}" presName="DropPinPlaceHolder" presStyleCnt="0"/>
      <dgm:spPr/>
    </dgm:pt>
    <dgm:pt modelId="{E0E8A8A0-FEE1-49A6-A9EB-DD51BD0C0A24}" type="pres">
      <dgm:prSet presAssocID="{28598768-4756-48DE-A12B-41D45793CC5C}" presName="DropPin" presStyleLbl="alignNode1" presStyleIdx="6" presStyleCnt="9"/>
      <dgm:spPr/>
    </dgm:pt>
    <dgm:pt modelId="{2717D9A2-9189-4342-94DD-23A8BAA3776D}" type="pres">
      <dgm:prSet presAssocID="{28598768-4756-48DE-A12B-41D45793CC5C}" presName="Ellipse" presStyleLbl="fgAcc1" presStyleIdx="7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79587213-B55A-46CB-9540-38D2D6CE12F1}" type="pres">
      <dgm:prSet presAssocID="{28598768-4756-48DE-A12B-41D45793CC5C}" presName="L2TextContainer" presStyleLbl="revTx" presStyleIdx="12" presStyleCnt="18">
        <dgm:presLayoutVars>
          <dgm:bulletEnabled val="1"/>
        </dgm:presLayoutVars>
      </dgm:prSet>
      <dgm:spPr/>
    </dgm:pt>
    <dgm:pt modelId="{F2F4FAF4-B9DE-4CA9-B93A-12B8F3E12F3C}" type="pres">
      <dgm:prSet presAssocID="{28598768-4756-48DE-A12B-41D45793CC5C}" presName="L1TextContainer" presStyleLbl="revTx" presStyleIdx="13" presStyleCnt="18">
        <dgm:presLayoutVars>
          <dgm:chMax val="1"/>
          <dgm:chPref val="1"/>
          <dgm:bulletEnabled val="1"/>
        </dgm:presLayoutVars>
      </dgm:prSet>
      <dgm:spPr/>
    </dgm:pt>
    <dgm:pt modelId="{CFB15918-0EBA-45A1-BBEB-5E693A73B9B1}" type="pres">
      <dgm:prSet presAssocID="{28598768-4756-48DE-A12B-41D45793CC5C}" presName="ConnectLine" presStyleLbl="sibTrans1D1" presStyleIdx="6" presStyleCnt="9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F84288E5-E066-4B98-9115-F6E62A7AA5B5}" type="pres">
      <dgm:prSet presAssocID="{28598768-4756-48DE-A12B-41D45793CC5C}" presName="EmptyPlaceHolder" presStyleCnt="0"/>
      <dgm:spPr/>
    </dgm:pt>
    <dgm:pt modelId="{F4A7DC62-662E-468B-BC54-A776B753A4FA}" type="pres">
      <dgm:prSet presAssocID="{5B77933F-0342-4613-97D2-0130697AD551}" presName="spaceBetweenRectangles" presStyleCnt="0"/>
      <dgm:spPr/>
    </dgm:pt>
    <dgm:pt modelId="{C2619832-A2E3-4688-9D41-3940A03D14C5}" type="pres">
      <dgm:prSet presAssocID="{BBBAD9C8-2513-47F2-B717-58F825266526}" presName="composite" presStyleCnt="0"/>
      <dgm:spPr/>
    </dgm:pt>
    <dgm:pt modelId="{6DF61D9F-7146-4D42-AC2D-8834673A4168}" type="pres">
      <dgm:prSet presAssocID="{BBBAD9C8-2513-47F2-B717-58F825266526}" presName="ConnectorPoint" presStyleLbl="lnNode1" presStyleIdx="7" presStyleCnt="9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B8DA05A8-5C1E-4E79-B096-0028A3F31870}" type="pres">
      <dgm:prSet presAssocID="{BBBAD9C8-2513-47F2-B717-58F825266526}" presName="DropPinPlaceHolder" presStyleCnt="0"/>
      <dgm:spPr/>
    </dgm:pt>
    <dgm:pt modelId="{FC31906E-963C-4DB5-8668-33489C2630F7}" type="pres">
      <dgm:prSet presAssocID="{BBBAD9C8-2513-47F2-B717-58F825266526}" presName="DropPin" presStyleLbl="alignNode1" presStyleIdx="7" presStyleCnt="9"/>
      <dgm:spPr/>
    </dgm:pt>
    <dgm:pt modelId="{C6E4C95E-E44D-4D8D-8F70-4416691CAC0C}" type="pres">
      <dgm:prSet presAssocID="{BBBAD9C8-2513-47F2-B717-58F825266526}" presName="Ellipse" presStyleLbl="fgAcc1" presStyleIdx="8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A165DFD7-8838-4766-BD38-84F8546D8B75}" type="pres">
      <dgm:prSet presAssocID="{BBBAD9C8-2513-47F2-B717-58F825266526}" presName="L2TextContainer" presStyleLbl="revTx" presStyleIdx="14" presStyleCnt="18">
        <dgm:presLayoutVars>
          <dgm:bulletEnabled val="1"/>
        </dgm:presLayoutVars>
      </dgm:prSet>
      <dgm:spPr/>
    </dgm:pt>
    <dgm:pt modelId="{9CB392C1-9AE1-415D-A3D7-85B4C7C3E0C6}" type="pres">
      <dgm:prSet presAssocID="{BBBAD9C8-2513-47F2-B717-58F825266526}" presName="L1TextContainer" presStyleLbl="revTx" presStyleIdx="15" presStyleCnt="18">
        <dgm:presLayoutVars>
          <dgm:chMax val="1"/>
          <dgm:chPref val="1"/>
          <dgm:bulletEnabled val="1"/>
        </dgm:presLayoutVars>
      </dgm:prSet>
      <dgm:spPr/>
    </dgm:pt>
    <dgm:pt modelId="{5A6BFDFD-1980-4E58-B9A0-B68D0561A955}" type="pres">
      <dgm:prSet presAssocID="{BBBAD9C8-2513-47F2-B717-58F825266526}" presName="ConnectLine" presStyleLbl="sibTrans1D1" presStyleIdx="7" presStyleCnt="9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F88D79A4-29B7-4638-A742-10CAC0001F74}" type="pres">
      <dgm:prSet presAssocID="{BBBAD9C8-2513-47F2-B717-58F825266526}" presName="EmptyPlaceHolder" presStyleCnt="0"/>
      <dgm:spPr/>
    </dgm:pt>
    <dgm:pt modelId="{C0BBCDC3-21FD-4FF5-AB9C-B8038AC7ECDA}" type="pres">
      <dgm:prSet presAssocID="{4DBD1626-6A68-4DE2-9505-89B5A97E3CB1}" presName="spaceBetweenRectangles" presStyleCnt="0"/>
      <dgm:spPr/>
    </dgm:pt>
    <dgm:pt modelId="{0F5E07A0-F5F7-436F-A68F-C80EC28CA13B}" type="pres">
      <dgm:prSet presAssocID="{CB268FA8-4B02-4FDD-A5B9-3965B5268A99}" presName="composite" presStyleCnt="0"/>
      <dgm:spPr/>
    </dgm:pt>
    <dgm:pt modelId="{8DBBD4E2-E4E5-4204-A0CE-71D36BE3EEF3}" type="pres">
      <dgm:prSet presAssocID="{CB268FA8-4B02-4FDD-A5B9-3965B5268A99}" presName="ConnectorPoint" presStyleLbl="lnNode1" presStyleIdx="8" presStyleCnt="9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CA6FE735-630A-4862-A537-C53A9E888ECF}" type="pres">
      <dgm:prSet presAssocID="{CB268FA8-4B02-4FDD-A5B9-3965B5268A99}" presName="DropPinPlaceHolder" presStyleCnt="0"/>
      <dgm:spPr/>
    </dgm:pt>
    <dgm:pt modelId="{B860117A-9DBE-4D58-B966-06BD6F98E9B3}" type="pres">
      <dgm:prSet presAssocID="{CB268FA8-4B02-4FDD-A5B9-3965B5268A99}" presName="DropPin" presStyleLbl="alignNode1" presStyleIdx="8" presStyleCnt="9"/>
      <dgm:spPr/>
    </dgm:pt>
    <dgm:pt modelId="{E16A5863-7012-44BD-8241-F298B637D44E}" type="pres">
      <dgm:prSet presAssocID="{CB268FA8-4B02-4FDD-A5B9-3965B5268A99}" presName="Ellipse" presStyleLbl="fgAcc1" presStyleIdx="9" presStyleCnt="10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E89DA8DA-472A-4F11-BBDB-F8E26CC502F4}" type="pres">
      <dgm:prSet presAssocID="{CB268FA8-4B02-4FDD-A5B9-3965B5268A99}" presName="L2TextContainer" presStyleLbl="revTx" presStyleIdx="16" presStyleCnt="18">
        <dgm:presLayoutVars>
          <dgm:bulletEnabled val="1"/>
        </dgm:presLayoutVars>
      </dgm:prSet>
      <dgm:spPr/>
    </dgm:pt>
    <dgm:pt modelId="{A28D79A3-22A5-4B87-9855-8D1491FCB71B}" type="pres">
      <dgm:prSet presAssocID="{CB268FA8-4B02-4FDD-A5B9-3965B5268A99}" presName="L1TextContainer" presStyleLbl="revTx" presStyleIdx="17" presStyleCnt="18">
        <dgm:presLayoutVars>
          <dgm:chMax val="1"/>
          <dgm:chPref val="1"/>
          <dgm:bulletEnabled val="1"/>
        </dgm:presLayoutVars>
      </dgm:prSet>
      <dgm:spPr/>
    </dgm:pt>
    <dgm:pt modelId="{BB1FC865-BC56-4E8C-BEBD-CDBAC245FB04}" type="pres">
      <dgm:prSet presAssocID="{CB268FA8-4B02-4FDD-A5B9-3965B5268A99}" presName="ConnectLine" presStyleLbl="sibTrans1D1" presStyleIdx="8" presStyleCnt="9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498BF1C9-BB83-45A3-802F-F2606DD33E94}" type="pres">
      <dgm:prSet presAssocID="{CB268FA8-4B02-4FDD-A5B9-3965B5268A99}" presName="EmptyPlaceHolder" presStyleCnt="0"/>
      <dgm:spPr/>
    </dgm:pt>
  </dgm:ptLst>
  <dgm:cxnLst>
    <dgm:cxn modelId="{B2DC4805-E632-4B44-BE15-B5F71E47149D}" type="presOf" srcId="{28598768-4756-48DE-A12B-41D45793CC5C}" destId="{F2F4FAF4-B9DE-4CA9-B93A-12B8F3E12F3C}" srcOrd="0" destOrd="0" presId="urn:microsoft.com/office/officeart/2017/3/layout/DropPinTimeline"/>
    <dgm:cxn modelId="{C4D5B407-9ACE-4267-BA6F-65B8CAEA5FBC}" type="presOf" srcId="{F87306E0-9275-4426-AF1E-6C18C003742B}" destId="{A165DFD7-8838-4766-BD38-84F8546D8B75}" srcOrd="0" destOrd="0" presId="urn:microsoft.com/office/officeart/2017/3/layout/DropPinTimeline"/>
    <dgm:cxn modelId="{EA259D0E-3532-4096-B375-55212BC061C1}" srcId="{FADB7751-DAC0-43E5-A6CA-C99F664C9C7C}" destId="{71B9D8F4-7453-4932-92BF-F5A7A5FE561A}" srcOrd="0" destOrd="0" parTransId="{254F1BD4-3B0B-482D-AE54-DFFD2FD6577A}" sibTransId="{125CB4EA-2939-4D07-A2E5-CFAB93F6C5FE}"/>
    <dgm:cxn modelId="{81DAB20E-6D86-4A81-AAC9-5537ECD1D5EE}" type="presOf" srcId="{71B9D8F4-7453-4932-92BF-F5A7A5FE561A}" destId="{3BF8BB8D-70AD-4C1B-8460-FB5A46911710}" srcOrd="0" destOrd="0" presId="urn:microsoft.com/office/officeart/2017/3/layout/DropPinTimeline"/>
    <dgm:cxn modelId="{0B9F9C18-1E32-48C9-B6F2-0CA9D08B3884}" srcId="{F538BD81-5286-4276-9245-CDD5744E14F0}" destId="{0BD7B9BB-6CDA-44DF-AE73-9DCD4FB5F4CA}" srcOrd="0" destOrd="0" parTransId="{BE069514-0B0F-4CF2-A270-F7E3C1A1D55E}" sibTransId="{D32EC385-9D2B-45F3-A23D-CE10F678AC89}"/>
    <dgm:cxn modelId="{A7D5A52A-26EE-4C57-A160-B02B84AEBECC}" type="presOf" srcId="{56C25576-E640-4E87-B58C-D8EA1A74B9F7}" destId="{E89DA8DA-472A-4F11-BBDB-F8E26CC502F4}" srcOrd="0" destOrd="0" presId="urn:microsoft.com/office/officeart/2017/3/layout/DropPinTimeline"/>
    <dgm:cxn modelId="{E267D72C-0FC3-43D0-A23F-2EA5E6A090C8}" type="presOf" srcId="{CB268FA8-4B02-4FDD-A5B9-3965B5268A99}" destId="{A28D79A3-22A5-4B87-9855-8D1491FCB71B}" srcOrd="0" destOrd="0" presId="urn:microsoft.com/office/officeart/2017/3/layout/DropPinTimeline"/>
    <dgm:cxn modelId="{F54F0831-D509-42E5-B157-225E9A7EA608}" type="presOf" srcId="{14BA211B-0E93-45BB-BB69-0039A790FFFB}" destId="{716EF3D9-950F-4DE0-8F32-6598AA829A44}" srcOrd="0" destOrd="0" presId="urn:microsoft.com/office/officeart/2017/3/layout/DropPinTimeline"/>
    <dgm:cxn modelId="{7451ED5B-BD24-4056-8626-F3B349AD4CE5}" type="presOf" srcId="{F016E3CE-51DE-4F06-ABD3-BC1E28B172FF}" destId="{1934EAB6-F902-4585-B161-469AB7852B8F}" srcOrd="0" destOrd="0" presId="urn:microsoft.com/office/officeart/2017/3/layout/DropPinTimeline"/>
    <dgm:cxn modelId="{7C8BE25C-CCF3-4B3A-816C-F79E0B895FFA}" srcId="{73510202-6F54-4AD7-A126-FE922027B7CC}" destId="{FADB7751-DAC0-43E5-A6CA-C99F664C9C7C}" srcOrd="4" destOrd="0" parTransId="{75934F50-41F5-4016-938C-4A11A94B96AA}" sibTransId="{D9033B08-7267-4505-9552-E7792EB20EFE}"/>
    <dgm:cxn modelId="{DDE78344-BFBE-41BF-861A-824AD76EDCEA}" type="presOf" srcId="{FADB7751-DAC0-43E5-A6CA-C99F664C9C7C}" destId="{01DB1E00-653E-4FD9-A084-619169E638F5}" srcOrd="0" destOrd="0" presId="urn:microsoft.com/office/officeart/2017/3/layout/DropPinTimeline"/>
    <dgm:cxn modelId="{8A36EE64-B039-40BF-AB17-A0CCB31A27E4}" srcId="{5AA7CCC0-9125-4983-8D38-C20E9A494474}" destId="{92B7256C-80AE-43E2-9FBF-FD987136A877}" srcOrd="0" destOrd="0" parTransId="{1874712C-CB94-4178-B21F-EB49D55CE268}" sibTransId="{2F548C39-891D-4C3E-B851-218613323932}"/>
    <dgm:cxn modelId="{69940945-76D7-4CBF-8B2C-8E83A89DF1F1}" type="presOf" srcId="{F538BD81-5286-4276-9245-CDD5744E14F0}" destId="{718B8078-2D27-4CCE-AA55-AE1553F83A5F}" srcOrd="0" destOrd="0" presId="urn:microsoft.com/office/officeart/2017/3/layout/DropPinTimeline"/>
    <dgm:cxn modelId="{75E72268-A699-4D1C-9EC1-81498767D872}" srcId="{73510202-6F54-4AD7-A126-FE922027B7CC}" destId="{BBBAD9C8-2513-47F2-B717-58F825266526}" srcOrd="7" destOrd="0" parTransId="{13896ACB-95F0-4390-A898-166681F0D08A}" sibTransId="{4DBD1626-6A68-4DE2-9505-89B5A97E3CB1}"/>
    <dgm:cxn modelId="{32ED8348-ABFA-44F7-911E-7A0C2FEF0444}" srcId="{F016E3CE-51DE-4F06-ABD3-BC1E28B172FF}" destId="{14BA211B-0E93-45BB-BB69-0039A790FFFB}" srcOrd="0" destOrd="0" parTransId="{A901FB22-C491-4702-9DE6-17360F69DA74}" sibTransId="{D4ABBF5B-DD61-4B1F-9225-7725DF6709D9}"/>
    <dgm:cxn modelId="{0E26E04A-0DF2-4379-9D40-360AD8C54E10}" type="presOf" srcId="{73510202-6F54-4AD7-A126-FE922027B7CC}" destId="{0089BE69-C4EF-4608-9E2A-E43D38EAE38C}" srcOrd="0" destOrd="0" presId="urn:microsoft.com/office/officeart/2017/3/layout/DropPinTimeline"/>
    <dgm:cxn modelId="{F24BE64D-EC46-4C8F-9DDE-35FD1D42360B}" srcId="{73510202-6F54-4AD7-A126-FE922027B7CC}" destId="{191012D2-9E4D-46C4-B72F-947FFA7B2BE2}" srcOrd="2" destOrd="0" parTransId="{5B1C7BD9-7A24-4E0B-B3A0-AB47C7AE6057}" sibTransId="{15B0CE39-5FCE-48FB-8426-D0AA63CDB8B6}"/>
    <dgm:cxn modelId="{7B98006F-A5C3-4A3C-A59F-C78091D8F0BB}" type="presOf" srcId="{89CB0FC2-7C71-4DDF-AE62-36FC1FD7C718}" destId="{3FCF91FD-D53A-409F-BDB2-1E14211304AA}" srcOrd="0" destOrd="0" presId="urn:microsoft.com/office/officeart/2017/3/layout/DropPinTimeline"/>
    <dgm:cxn modelId="{92926351-B9F5-43FA-BBB0-F79A77107516}" srcId="{73510202-6F54-4AD7-A126-FE922027B7CC}" destId="{F538BD81-5286-4276-9245-CDD5744E14F0}" srcOrd="3" destOrd="0" parTransId="{E49160A5-F211-4279-9B5C-D2AC11A4A328}" sibTransId="{7C58EABC-0F6F-4D16-8049-3F9383D618BE}"/>
    <dgm:cxn modelId="{2B553978-0AFF-441C-B938-24846B3E762B}" type="presOf" srcId="{5EFDE009-8A18-451E-85A0-A065ADBFB852}" destId="{54122E80-DBBC-442C-832E-897B452C591F}" srcOrd="0" destOrd="0" presId="urn:microsoft.com/office/officeart/2017/3/layout/DropPinTimeline"/>
    <dgm:cxn modelId="{4261F081-5CBD-4263-9126-36343E773DD1}" type="presOf" srcId="{0BD7B9BB-6CDA-44DF-AE73-9DCD4FB5F4CA}" destId="{3DE851A7-408D-4855-A10A-8796B16D64C4}" srcOrd="0" destOrd="0" presId="urn:microsoft.com/office/officeart/2017/3/layout/DropPinTimeline"/>
    <dgm:cxn modelId="{B822C685-7C3C-42A9-A292-783638B88310}" type="presOf" srcId="{045C1DD5-1328-483C-B92C-C3FD8C32F1D0}" destId="{79587213-B55A-46CB-9540-38D2D6CE12F1}" srcOrd="0" destOrd="0" presId="urn:microsoft.com/office/officeart/2017/3/layout/DropPinTimeline"/>
    <dgm:cxn modelId="{33799997-D743-4764-B1F8-5EEB0015EB34}" type="presOf" srcId="{92B7256C-80AE-43E2-9FBF-FD987136A877}" destId="{54D29176-07D0-40B3-B26F-DC836015E1F2}" srcOrd="0" destOrd="0" presId="urn:microsoft.com/office/officeart/2017/3/layout/DropPinTimeline"/>
    <dgm:cxn modelId="{8E0D2D99-DBFF-4B1A-9A9B-F6261D31347D}" type="presOf" srcId="{5AA7CCC0-9125-4983-8D38-C20E9A494474}" destId="{4698DDAC-5E52-4A16-A239-4564A0D23FCF}" srcOrd="0" destOrd="0" presId="urn:microsoft.com/office/officeart/2017/3/layout/DropPinTimeline"/>
    <dgm:cxn modelId="{E29F9D9D-C659-4C39-83D1-718184742037}" srcId="{191012D2-9E4D-46C4-B72F-947FFA7B2BE2}" destId="{66501494-9361-48F0-9D82-22D1C5EEBD5C}" srcOrd="0" destOrd="0" parTransId="{C3287F46-9C69-418D-8052-30B726918AB2}" sibTransId="{7633B908-7827-4932-A695-E429674136ED}"/>
    <dgm:cxn modelId="{3301B6A4-4A48-434C-8766-A480867BE259}" srcId="{28598768-4756-48DE-A12B-41D45793CC5C}" destId="{045C1DD5-1328-483C-B92C-C3FD8C32F1D0}" srcOrd="0" destOrd="0" parTransId="{D28E007A-57D4-4907-A63D-93F1F8748878}" sibTransId="{1FF1DFE1-F124-4FED-9ABC-66E261D7BB99}"/>
    <dgm:cxn modelId="{36A98AB3-D518-4C0E-8B97-ED48C5592CA5}" srcId="{73510202-6F54-4AD7-A126-FE922027B7CC}" destId="{F016E3CE-51DE-4F06-ABD3-BC1E28B172FF}" srcOrd="1" destOrd="0" parTransId="{7646E87F-5D78-4516-9204-D7E63719E5D9}" sibTransId="{1AFBD384-5193-4324-9194-3884A286D818}"/>
    <dgm:cxn modelId="{17740DB4-3098-4AD3-83F2-A4F0440E54B1}" type="presOf" srcId="{191012D2-9E4D-46C4-B72F-947FFA7B2BE2}" destId="{F5AE2273-90DA-45AB-B803-F2D526980448}" srcOrd="0" destOrd="0" presId="urn:microsoft.com/office/officeart/2017/3/layout/DropPinTimeline"/>
    <dgm:cxn modelId="{118F5CB4-29CC-4964-ABD5-DCE61B0371CA}" type="presOf" srcId="{BBBAD9C8-2513-47F2-B717-58F825266526}" destId="{9CB392C1-9AE1-415D-A3D7-85B4C7C3E0C6}" srcOrd="0" destOrd="0" presId="urn:microsoft.com/office/officeart/2017/3/layout/DropPinTimeline"/>
    <dgm:cxn modelId="{FDB453B4-DADE-4E9B-8F56-14EFE0CEE93A}" srcId="{CB268FA8-4B02-4FDD-A5B9-3965B5268A99}" destId="{56C25576-E640-4E87-B58C-D8EA1A74B9F7}" srcOrd="0" destOrd="0" parTransId="{29AA01B8-338B-4A7A-91C8-569C3053CECF}" sibTransId="{52D20449-CA4D-4AF4-96FD-E3B1994E2C8A}"/>
    <dgm:cxn modelId="{106F6AC9-7DF3-40BD-8129-F521FEAE40FE}" srcId="{5EFDE009-8A18-451E-85A0-A065ADBFB852}" destId="{89CB0FC2-7C71-4DDF-AE62-36FC1FD7C718}" srcOrd="0" destOrd="0" parTransId="{BDBE51D8-78C9-4F70-93F7-A2916F3EB6E1}" sibTransId="{B47A9868-61B3-48FD-A032-1852AE563634}"/>
    <dgm:cxn modelId="{B02D46D6-66F5-4334-860E-A2279149257B}" srcId="{73510202-6F54-4AD7-A126-FE922027B7CC}" destId="{28598768-4756-48DE-A12B-41D45793CC5C}" srcOrd="6" destOrd="0" parTransId="{65DBD537-3B90-411F-8059-925F589C5CB9}" sibTransId="{5B77933F-0342-4613-97D2-0130697AD551}"/>
    <dgm:cxn modelId="{03F711E0-4C52-4211-A320-80F1D02C22CB}" srcId="{73510202-6F54-4AD7-A126-FE922027B7CC}" destId="{5EFDE009-8A18-451E-85A0-A065ADBFB852}" srcOrd="0" destOrd="0" parTransId="{4DFF7513-CBC8-479A-8913-7D53C2EBBDED}" sibTransId="{F3781ABB-BA97-46B1-AA36-47322735DBF9}"/>
    <dgm:cxn modelId="{6B7B73E5-73C3-43DD-9435-ACAE28AEFC75}" srcId="{73510202-6F54-4AD7-A126-FE922027B7CC}" destId="{5AA7CCC0-9125-4983-8D38-C20E9A494474}" srcOrd="5" destOrd="0" parTransId="{FE3D984E-DDDC-472D-892E-49E666535B32}" sibTransId="{7E2269FA-2B27-432F-B895-9CE4D9898700}"/>
    <dgm:cxn modelId="{62021FEC-ECFD-4EF6-9EF2-BEA137D1BABC}" type="presOf" srcId="{66501494-9361-48F0-9D82-22D1C5EEBD5C}" destId="{C8211C87-5648-406C-8BE0-76037BE4A259}" srcOrd="0" destOrd="0" presId="urn:microsoft.com/office/officeart/2017/3/layout/DropPinTimeline"/>
    <dgm:cxn modelId="{09AA22EC-350F-4830-9BFE-F236E071D121}" srcId="{73510202-6F54-4AD7-A126-FE922027B7CC}" destId="{CB268FA8-4B02-4FDD-A5B9-3965B5268A99}" srcOrd="8" destOrd="0" parTransId="{3435D919-A421-4414-A5DF-984292956548}" sibTransId="{F8EC4010-1606-47B1-96D7-A7AA5F892C58}"/>
    <dgm:cxn modelId="{0E94EFF3-3760-46C7-AED4-AE77DE19DB89}" srcId="{BBBAD9C8-2513-47F2-B717-58F825266526}" destId="{F87306E0-9275-4426-AF1E-6C18C003742B}" srcOrd="0" destOrd="0" parTransId="{B3739B0E-BD2E-4C9B-A5E7-1E568877C223}" sibTransId="{13993670-B736-4367-9A63-83F5448FC301}"/>
    <dgm:cxn modelId="{8B53AEBF-E91D-4D86-94AF-068A24FC22C6}" type="presParOf" srcId="{0089BE69-C4EF-4608-9E2A-E43D38EAE38C}" destId="{C2B1F9C6-30CF-4CFF-A2DB-5C6A7F36226D}" srcOrd="0" destOrd="0" presId="urn:microsoft.com/office/officeart/2017/3/layout/DropPinTimeline"/>
    <dgm:cxn modelId="{7A80C85D-D879-45DC-914E-FC8015E2D98E}" type="presParOf" srcId="{0089BE69-C4EF-4608-9E2A-E43D38EAE38C}" destId="{E1D808D3-BFA3-45FB-938A-38F103292635}" srcOrd="1" destOrd="0" presId="urn:microsoft.com/office/officeart/2017/3/layout/DropPinTimeline"/>
    <dgm:cxn modelId="{40CB4CC8-E356-469E-9348-6B88BE6E5EEE}" type="presParOf" srcId="{E1D808D3-BFA3-45FB-938A-38F103292635}" destId="{E67696B3-994C-414E-B9C7-8FB9C4CBAAA5}" srcOrd="0" destOrd="0" presId="urn:microsoft.com/office/officeart/2017/3/layout/DropPinTimeline"/>
    <dgm:cxn modelId="{3980861A-6C06-45A7-9039-53AD2937DD58}" type="presParOf" srcId="{E67696B3-994C-414E-B9C7-8FB9C4CBAAA5}" destId="{ECD14EC7-7A84-40C1-82A1-AF02051D4AF5}" srcOrd="0" destOrd="0" presId="urn:microsoft.com/office/officeart/2017/3/layout/DropPinTimeline"/>
    <dgm:cxn modelId="{F86BCEA7-E634-41EA-B69B-1EC50E4EF389}" type="presParOf" srcId="{E67696B3-994C-414E-B9C7-8FB9C4CBAAA5}" destId="{B2703A30-41C2-4E9C-8EA0-61A7B1E4829D}" srcOrd="1" destOrd="0" presId="urn:microsoft.com/office/officeart/2017/3/layout/DropPinTimeline"/>
    <dgm:cxn modelId="{C816307E-C8F6-45AE-9B47-EBDA02D37008}" type="presParOf" srcId="{B2703A30-41C2-4E9C-8EA0-61A7B1E4829D}" destId="{67EBEEBC-84FE-42A8-B3B7-3EAD870B277B}" srcOrd="0" destOrd="0" presId="urn:microsoft.com/office/officeart/2017/3/layout/DropPinTimeline"/>
    <dgm:cxn modelId="{F0CBE683-DF39-4A6D-A73B-9E326F3B5F04}" type="presParOf" srcId="{B2703A30-41C2-4E9C-8EA0-61A7B1E4829D}" destId="{07F5BCD7-7FC7-40AB-8081-7D52DE42F45B}" srcOrd="1" destOrd="0" presId="urn:microsoft.com/office/officeart/2017/3/layout/DropPinTimeline"/>
    <dgm:cxn modelId="{1083275E-D7A7-4B64-8352-89E40C307FEF}" type="presParOf" srcId="{E67696B3-994C-414E-B9C7-8FB9C4CBAAA5}" destId="{3FCF91FD-D53A-409F-BDB2-1E14211304AA}" srcOrd="2" destOrd="0" presId="urn:microsoft.com/office/officeart/2017/3/layout/DropPinTimeline"/>
    <dgm:cxn modelId="{9A66BE34-1218-4F76-B8C7-01B9176E6E62}" type="presParOf" srcId="{E67696B3-994C-414E-B9C7-8FB9C4CBAAA5}" destId="{54122E80-DBBC-442C-832E-897B452C591F}" srcOrd="3" destOrd="0" presId="urn:microsoft.com/office/officeart/2017/3/layout/DropPinTimeline"/>
    <dgm:cxn modelId="{607290D6-80F8-4DC2-A017-027BB1E4E7DB}" type="presParOf" srcId="{E67696B3-994C-414E-B9C7-8FB9C4CBAAA5}" destId="{6C62B183-CA78-462A-BF72-DF85D4C04AE2}" srcOrd="4" destOrd="0" presId="urn:microsoft.com/office/officeart/2017/3/layout/DropPinTimeline"/>
    <dgm:cxn modelId="{26971078-AF45-4CD1-9009-EA17FBADBD44}" type="presParOf" srcId="{E67696B3-994C-414E-B9C7-8FB9C4CBAAA5}" destId="{E3EB3173-9007-4E07-BA73-011AB7C60C8F}" srcOrd="5" destOrd="0" presId="urn:microsoft.com/office/officeart/2017/3/layout/DropPinTimeline"/>
    <dgm:cxn modelId="{0128F2AC-9FE3-41A4-99D4-130EB81906F9}" type="presParOf" srcId="{E1D808D3-BFA3-45FB-938A-38F103292635}" destId="{2927BBD0-2AA5-4913-8811-F20BE2DEE7A0}" srcOrd="1" destOrd="0" presId="urn:microsoft.com/office/officeart/2017/3/layout/DropPinTimeline"/>
    <dgm:cxn modelId="{0E9455A7-208C-402F-A9D2-8F68588B2AEA}" type="presParOf" srcId="{E1D808D3-BFA3-45FB-938A-38F103292635}" destId="{72AF5120-B592-4317-B6C9-38AFEB53373D}" srcOrd="2" destOrd="0" presId="urn:microsoft.com/office/officeart/2017/3/layout/DropPinTimeline"/>
    <dgm:cxn modelId="{D71CF558-A5BB-4393-864F-E3D6DB3AA9B9}" type="presParOf" srcId="{72AF5120-B592-4317-B6C9-38AFEB53373D}" destId="{76C825B6-05E5-4AD9-829F-92DFFD4E673D}" srcOrd="0" destOrd="0" presId="urn:microsoft.com/office/officeart/2017/3/layout/DropPinTimeline"/>
    <dgm:cxn modelId="{AAC030DB-69B8-4780-9E11-00E5549B0C37}" type="presParOf" srcId="{72AF5120-B592-4317-B6C9-38AFEB53373D}" destId="{F1C51972-02B6-446E-AEE1-CFB94D166AB6}" srcOrd="1" destOrd="0" presId="urn:microsoft.com/office/officeart/2017/3/layout/DropPinTimeline"/>
    <dgm:cxn modelId="{6E41B2B1-AA19-4F5C-9D95-0ECE733D99F4}" type="presParOf" srcId="{F1C51972-02B6-446E-AEE1-CFB94D166AB6}" destId="{CFB60744-1BB8-4029-BF0E-54A25726DC6B}" srcOrd="0" destOrd="0" presId="urn:microsoft.com/office/officeart/2017/3/layout/DropPinTimeline"/>
    <dgm:cxn modelId="{4E0D7EB7-9E6A-493B-87AE-9085F0387CBC}" type="presParOf" srcId="{F1C51972-02B6-446E-AEE1-CFB94D166AB6}" destId="{4A5DA0C5-6940-4231-B055-21FFE1CB3E86}" srcOrd="1" destOrd="0" presId="urn:microsoft.com/office/officeart/2017/3/layout/DropPinTimeline"/>
    <dgm:cxn modelId="{3BFC7B8E-3BEA-4170-BD12-FD534B768435}" type="presParOf" srcId="{72AF5120-B592-4317-B6C9-38AFEB53373D}" destId="{716EF3D9-950F-4DE0-8F32-6598AA829A44}" srcOrd="2" destOrd="0" presId="urn:microsoft.com/office/officeart/2017/3/layout/DropPinTimeline"/>
    <dgm:cxn modelId="{28E7270B-D211-4359-B268-C565B5074946}" type="presParOf" srcId="{72AF5120-B592-4317-B6C9-38AFEB53373D}" destId="{1934EAB6-F902-4585-B161-469AB7852B8F}" srcOrd="3" destOrd="0" presId="urn:microsoft.com/office/officeart/2017/3/layout/DropPinTimeline"/>
    <dgm:cxn modelId="{C35378D6-1761-4E4C-9A13-A1FB70FC9265}" type="presParOf" srcId="{72AF5120-B592-4317-B6C9-38AFEB53373D}" destId="{0D8B5AA3-134A-45E6-8BEE-E17D59D31456}" srcOrd="4" destOrd="0" presId="urn:microsoft.com/office/officeart/2017/3/layout/DropPinTimeline"/>
    <dgm:cxn modelId="{5661A94A-1DC9-4F3D-9A17-EEC021DB8C0B}" type="presParOf" srcId="{72AF5120-B592-4317-B6C9-38AFEB53373D}" destId="{D3E8562B-21BC-4AE8-9500-C59A6EEFAB54}" srcOrd="5" destOrd="0" presId="urn:microsoft.com/office/officeart/2017/3/layout/DropPinTimeline"/>
    <dgm:cxn modelId="{07B4F873-2996-483D-818F-CC5C6F610E00}" type="presParOf" srcId="{E1D808D3-BFA3-45FB-938A-38F103292635}" destId="{E045FE74-38F2-4F0A-A28E-F7B1D3046E3C}" srcOrd="3" destOrd="0" presId="urn:microsoft.com/office/officeart/2017/3/layout/DropPinTimeline"/>
    <dgm:cxn modelId="{2B123473-A1E0-49A3-BCBD-CEA0D68DF23A}" type="presParOf" srcId="{E1D808D3-BFA3-45FB-938A-38F103292635}" destId="{BA733983-AA8F-4CF6-8022-8D47FF42C871}" srcOrd="4" destOrd="0" presId="urn:microsoft.com/office/officeart/2017/3/layout/DropPinTimeline"/>
    <dgm:cxn modelId="{05D4C22F-565C-4260-A817-160DBD9E3152}" type="presParOf" srcId="{BA733983-AA8F-4CF6-8022-8D47FF42C871}" destId="{47B926EF-A0DE-4785-8653-7FB8EA7636D1}" srcOrd="0" destOrd="0" presId="urn:microsoft.com/office/officeart/2017/3/layout/DropPinTimeline"/>
    <dgm:cxn modelId="{1D9EB544-82C8-4D52-878B-4D25DB01572A}" type="presParOf" srcId="{BA733983-AA8F-4CF6-8022-8D47FF42C871}" destId="{45D4A4D2-9DBC-472A-81A2-3AE3CC27677B}" srcOrd="1" destOrd="0" presId="urn:microsoft.com/office/officeart/2017/3/layout/DropPinTimeline"/>
    <dgm:cxn modelId="{A1FAFE58-CE8E-4656-B42C-5F0302639A1E}" type="presParOf" srcId="{45D4A4D2-9DBC-472A-81A2-3AE3CC27677B}" destId="{94804FB4-EDD6-4325-A227-8261F8B5254A}" srcOrd="0" destOrd="0" presId="urn:microsoft.com/office/officeart/2017/3/layout/DropPinTimeline"/>
    <dgm:cxn modelId="{A3202525-F846-4527-9DC9-A88F1E481E41}" type="presParOf" srcId="{45D4A4D2-9DBC-472A-81A2-3AE3CC27677B}" destId="{EB2403E6-0E42-432C-9961-2E5C75F4B1AA}" srcOrd="1" destOrd="0" presId="urn:microsoft.com/office/officeart/2017/3/layout/DropPinTimeline"/>
    <dgm:cxn modelId="{ECA02EAA-4AFF-4F03-9907-56014E41AE75}" type="presParOf" srcId="{BA733983-AA8F-4CF6-8022-8D47FF42C871}" destId="{C8211C87-5648-406C-8BE0-76037BE4A259}" srcOrd="2" destOrd="0" presId="urn:microsoft.com/office/officeart/2017/3/layout/DropPinTimeline"/>
    <dgm:cxn modelId="{525550B7-67B0-4060-ABCA-652BBB1BFAA4}" type="presParOf" srcId="{BA733983-AA8F-4CF6-8022-8D47FF42C871}" destId="{F5AE2273-90DA-45AB-B803-F2D526980448}" srcOrd="3" destOrd="0" presId="urn:microsoft.com/office/officeart/2017/3/layout/DropPinTimeline"/>
    <dgm:cxn modelId="{E61D0CCD-E786-4E81-86D7-180BCF0BEF5C}" type="presParOf" srcId="{BA733983-AA8F-4CF6-8022-8D47FF42C871}" destId="{D0F97274-BEB8-4BC2-9833-23DAD7A7F27E}" srcOrd="4" destOrd="0" presId="urn:microsoft.com/office/officeart/2017/3/layout/DropPinTimeline"/>
    <dgm:cxn modelId="{6A03D4DA-AF62-4EB1-804C-8BF8811906DC}" type="presParOf" srcId="{BA733983-AA8F-4CF6-8022-8D47FF42C871}" destId="{3FC69C54-8E9E-4C94-ABD1-F5A681D3EB4C}" srcOrd="5" destOrd="0" presId="urn:microsoft.com/office/officeart/2017/3/layout/DropPinTimeline"/>
    <dgm:cxn modelId="{26D0421D-F619-4782-80BE-D54EAE75FE5F}" type="presParOf" srcId="{E1D808D3-BFA3-45FB-938A-38F103292635}" destId="{42FB2CD2-2E4A-496F-B39B-7539B6DA5882}" srcOrd="5" destOrd="0" presId="urn:microsoft.com/office/officeart/2017/3/layout/DropPinTimeline"/>
    <dgm:cxn modelId="{5CE86C5A-66D9-49B1-8601-7B861DA43C92}" type="presParOf" srcId="{E1D808D3-BFA3-45FB-938A-38F103292635}" destId="{57597986-DD53-4CD5-878A-A4A8BAEC22DA}" srcOrd="6" destOrd="0" presId="urn:microsoft.com/office/officeart/2017/3/layout/DropPinTimeline"/>
    <dgm:cxn modelId="{89A50FB8-F4DC-45B5-8CCF-F387BDCB4F6D}" type="presParOf" srcId="{57597986-DD53-4CD5-878A-A4A8BAEC22DA}" destId="{EB470A4D-FD33-40A9-BB96-9351CF45A306}" srcOrd="0" destOrd="0" presId="urn:microsoft.com/office/officeart/2017/3/layout/DropPinTimeline"/>
    <dgm:cxn modelId="{A773BE8A-5022-4408-BF3F-78CB0A5721B7}" type="presParOf" srcId="{57597986-DD53-4CD5-878A-A4A8BAEC22DA}" destId="{145F6DC0-86FE-4D99-B392-8EB0F53F1084}" srcOrd="1" destOrd="0" presId="urn:microsoft.com/office/officeart/2017/3/layout/DropPinTimeline"/>
    <dgm:cxn modelId="{B971D1ED-C9FD-46F6-BE6B-1A4F80DD577C}" type="presParOf" srcId="{145F6DC0-86FE-4D99-B392-8EB0F53F1084}" destId="{D32DA62F-81C8-42C9-AFD8-C07F2CBBFA2E}" srcOrd="0" destOrd="0" presId="urn:microsoft.com/office/officeart/2017/3/layout/DropPinTimeline"/>
    <dgm:cxn modelId="{5AB149C9-A6C4-406B-ADDE-9115F9BD231B}" type="presParOf" srcId="{145F6DC0-86FE-4D99-B392-8EB0F53F1084}" destId="{DDC2BEA6-DC72-412A-980B-35215CA1D668}" srcOrd="1" destOrd="0" presId="urn:microsoft.com/office/officeart/2017/3/layout/DropPinTimeline"/>
    <dgm:cxn modelId="{7B56C7C7-4D0E-44CC-924E-F4BED2556A82}" type="presParOf" srcId="{57597986-DD53-4CD5-878A-A4A8BAEC22DA}" destId="{3DE851A7-408D-4855-A10A-8796B16D64C4}" srcOrd="2" destOrd="0" presId="urn:microsoft.com/office/officeart/2017/3/layout/DropPinTimeline"/>
    <dgm:cxn modelId="{624D0E17-0A27-4B73-B4AB-AEA2B092E482}" type="presParOf" srcId="{57597986-DD53-4CD5-878A-A4A8BAEC22DA}" destId="{718B8078-2D27-4CCE-AA55-AE1553F83A5F}" srcOrd="3" destOrd="0" presId="urn:microsoft.com/office/officeart/2017/3/layout/DropPinTimeline"/>
    <dgm:cxn modelId="{7DF630DC-C018-4955-B5D8-E89D0CB74386}" type="presParOf" srcId="{57597986-DD53-4CD5-878A-A4A8BAEC22DA}" destId="{2CFD0626-F508-458E-AED9-096C52DC24E0}" srcOrd="4" destOrd="0" presId="urn:microsoft.com/office/officeart/2017/3/layout/DropPinTimeline"/>
    <dgm:cxn modelId="{626B4DFF-3177-464E-A7FE-8280EABAB275}" type="presParOf" srcId="{57597986-DD53-4CD5-878A-A4A8BAEC22DA}" destId="{D3FCD921-A8DB-464C-BD10-1B3192FBBA00}" srcOrd="5" destOrd="0" presId="urn:microsoft.com/office/officeart/2017/3/layout/DropPinTimeline"/>
    <dgm:cxn modelId="{F6E28397-F0BC-4A55-BA74-EA1D4AC3DB2F}" type="presParOf" srcId="{E1D808D3-BFA3-45FB-938A-38F103292635}" destId="{8FF2CF38-22CB-45F6-BBB3-C514F7353EFB}" srcOrd="7" destOrd="0" presId="urn:microsoft.com/office/officeart/2017/3/layout/DropPinTimeline"/>
    <dgm:cxn modelId="{3C6EB4D6-9C48-4A86-A655-903393BE2882}" type="presParOf" srcId="{E1D808D3-BFA3-45FB-938A-38F103292635}" destId="{5D1C5CD6-E397-4CD2-8D08-C88CC39550CE}" srcOrd="8" destOrd="0" presId="urn:microsoft.com/office/officeart/2017/3/layout/DropPinTimeline"/>
    <dgm:cxn modelId="{142095F6-7C9D-4BD5-B98A-E922AEABC757}" type="presParOf" srcId="{5D1C5CD6-E397-4CD2-8D08-C88CC39550CE}" destId="{9C6D0A96-2197-436B-B6FB-E8F93A9F3E1D}" srcOrd="0" destOrd="0" presId="urn:microsoft.com/office/officeart/2017/3/layout/DropPinTimeline"/>
    <dgm:cxn modelId="{84C560B5-A715-4FFF-9A30-93048B1A304C}" type="presParOf" srcId="{5D1C5CD6-E397-4CD2-8D08-C88CC39550CE}" destId="{6E357D99-D461-41E3-A871-755E684DE456}" srcOrd="1" destOrd="0" presId="urn:microsoft.com/office/officeart/2017/3/layout/DropPinTimeline"/>
    <dgm:cxn modelId="{7E31EB0F-6184-4977-BAA1-31249BE1889A}" type="presParOf" srcId="{6E357D99-D461-41E3-A871-755E684DE456}" destId="{140E677A-1C05-4069-B739-4A726EC10671}" srcOrd="0" destOrd="0" presId="urn:microsoft.com/office/officeart/2017/3/layout/DropPinTimeline"/>
    <dgm:cxn modelId="{5469A2C7-0579-4C89-96A2-DA12CE25E8F9}" type="presParOf" srcId="{6E357D99-D461-41E3-A871-755E684DE456}" destId="{91426964-70AF-44EB-BDD6-3FADB714EDA8}" srcOrd="1" destOrd="0" presId="urn:microsoft.com/office/officeart/2017/3/layout/DropPinTimeline"/>
    <dgm:cxn modelId="{28EC846F-168F-4E97-9BDB-3BF726916A2C}" type="presParOf" srcId="{5D1C5CD6-E397-4CD2-8D08-C88CC39550CE}" destId="{3BF8BB8D-70AD-4C1B-8460-FB5A46911710}" srcOrd="2" destOrd="0" presId="urn:microsoft.com/office/officeart/2017/3/layout/DropPinTimeline"/>
    <dgm:cxn modelId="{717F2981-8E00-4083-A19B-24FD4875A2A2}" type="presParOf" srcId="{5D1C5CD6-E397-4CD2-8D08-C88CC39550CE}" destId="{01DB1E00-653E-4FD9-A084-619169E638F5}" srcOrd="3" destOrd="0" presId="urn:microsoft.com/office/officeart/2017/3/layout/DropPinTimeline"/>
    <dgm:cxn modelId="{A6DA508A-E7B0-45DE-9029-F80876C10BF2}" type="presParOf" srcId="{5D1C5CD6-E397-4CD2-8D08-C88CC39550CE}" destId="{799936B6-30E4-429A-8FD8-70E9917B20FB}" srcOrd="4" destOrd="0" presId="urn:microsoft.com/office/officeart/2017/3/layout/DropPinTimeline"/>
    <dgm:cxn modelId="{E6E03FAD-B014-4205-9DA6-FD121EAF4CF7}" type="presParOf" srcId="{5D1C5CD6-E397-4CD2-8D08-C88CC39550CE}" destId="{479D0CFF-CCED-437B-997D-3078583AC545}" srcOrd="5" destOrd="0" presId="urn:microsoft.com/office/officeart/2017/3/layout/DropPinTimeline"/>
    <dgm:cxn modelId="{142FFCFC-CCC6-40E7-8A0A-68A278F1D660}" type="presParOf" srcId="{E1D808D3-BFA3-45FB-938A-38F103292635}" destId="{6B3DC9EC-5A9F-4F04-9781-8D0D95817534}" srcOrd="9" destOrd="0" presId="urn:microsoft.com/office/officeart/2017/3/layout/DropPinTimeline"/>
    <dgm:cxn modelId="{4D82B865-727E-4316-9657-34B62A326C72}" type="presParOf" srcId="{E1D808D3-BFA3-45FB-938A-38F103292635}" destId="{D45F54A0-088F-4C28-B458-A2C7B9700994}" srcOrd="10" destOrd="0" presId="urn:microsoft.com/office/officeart/2017/3/layout/DropPinTimeline"/>
    <dgm:cxn modelId="{90B5A11A-858A-4BA9-8780-F888A43D395F}" type="presParOf" srcId="{D45F54A0-088F-4C28-B458-A2C7B9700994}" destId="{9CBC95DC-19FD-42CD-997E-4B93660CFA13}" srcOrd="0" destOrd="0" presId="urn:microsoft.com/office/officeart/2017/3/layout/DropPinTimeline"/>
    <dgm:cxn modelId="{33EBA7B9-8566-40D4-9D30-AEA4B94B685F}" type="presParOf" srcId="{D45F54A0-088F-4C28-B458-A2C7B9700994}" destId="{D51725DC-FDE8-471F-9384-3FE25D7898D6}" srcOrd="1" destOrd="0" presId="urn:microsoft.com/office/officeart/2017/3/layout/DropPinTimeline"/>
    <dgm:cxn modelId="{1FE351A2-C319-409A-A8D8-D415A48A2DB6}" type="presParOf" srcId="{D51725DC-FDE8-471F-9384-3FE25D7898D6}" destId="{ABD281EB-0657-4FEA-AF87-5CD44E981927}" srcOrd="0" destOrd="0" presId="urn:microsoft.com/office/officeart/2017/3/layout/DropPinTimeline"/>
    <dgm:cxn modelId="{61779C6B-56AA-4F7A-9AC6-F8FD8969A37A}" type="presParOf" srcId="{D51725DC-FDE8-471F-9384-3FE25D7898D6}" destId="{4D8DE2C1-DED4-4D9C-A75C-3567DB584651}" srcOrd="1" destOrd="0" presId="urn:microsoft.com/office/officeart/2017/3/layout/DropPinTimeline"/>
    <dgm:cxn modelId="{09AF62C8-0E64-4692-ADB0-7A75F2676063}" type="presParOf" srcId="{D45F54A0-088F-4C28-B458-A2C7B9700994}" destId="{54D29176-07D0-40B3-B26F-DC836015E1F2}" srcOrd="2" destOrd="0" presId="urn:microsoft.com/office/officeart/2017/3/layout/DropPinTimeline"/>
    <dgm:cxn modelId="{81F182EC-E261-486E-A0B4-DB937D2B53DD}" type="presParOf" srcId="{D45F54A0-088F-4C28-B458-A2C7B9700994}" destId="{4698DDAC-5E52-4A16-A239-4564A0D23FCF}" srcOrd="3" destOrd="0" presId="urn:microsoft.com/office/officeart/2017/3/layout/DropPinTimeline"/>
    <dgm:cxn modelId="{F762F208-0F36-45CC-9AEF-4CE7020DECC3}" type="presParOf" srcId="{D45F54A0-088F-4C28-B458-A2C7B9700994}" destId="{76039910-098A-4293-9039-FED0189FAEA3}" srcOrd="4" destOrd="0" presId="urn:microsoft.com/office/officeart/2017/3/layout/DropPinTimeline"/>
    <dgm:cxn modelId="{C42874C2-43CB-49DC-8E7B-1D94C5397A3D}" type="presParOf" srcId="{D45F54A0-088F-4C28-B458-A2C7B9700994}" destId="{B45F4BDD-4836-4182-A543-34775DCD1B9B}" srcOrd="5" destOrd="0" presId="urn:microsoft.com/office/officeart/2017/3/layout/DropPinTimeline"/>
    <dgm:cxn modelId="{75FD4DC2-57DB-4EB5-BBF0-5A292034978A}" type="presParOf" srcId="{E1D808D3-BFA3-45FB-938A-38F103292635}" destId="{44AF7D22-A9B9-4183-9513-E520069E48B8}" srcOrd="11" destOrd="0" presId="urn:microsoft.com/office/officeart/2017/3/layout/DropPinTimeline"/>
    <dgm:cxn modelId="{6E6FF847-205D-4E3F-A53C-9BD3DA42678B}" type="presParOf" srcId="{E1D808D3-BFA3-45FB-938A-38F103292635}" destId="{66F91826-CC62-45BE-BD7E-5E5230BE29FA}" srcOrd="12" destOrd="0" presId="urn:microsoft.com/office/officeart/2017/3/layout/DropPinTimeline"/>
    <dgm:cxn modelId="{E40684D6-9AE3-4F65-A199-D5DB7FD00E63}" type="presParOf" srcId="{66F91826-CC62-45BE-BD7E-5E5230BE29FA}" destId="{C597F31C-0B7E-484A-A59C-4E4420EDB70A}" srcOrd="0" destOrd="0" presId="urn:microsoft.com/office/officeart/2017/3/layout/DropPinTimeline"/>
    <dgm:cxn modelId="{59C47F2C-B5E5-4C80-A485-EB79EF671C08}" type="presParOf" srcId="{66F91826-CC62-45BE-BD7E-5E5230BE29FA}" destId="{69B3C8D1-B96B-4B70-BEA7-13C2FD4F2D2E}" srcOrd="1" destOrd="0" presId="urn:microsoft.com/office/officeart/2017/3/layout/DropPinTimeline"/>
    <dgm:cxn modelId="{05693147-6DEC-408D-A1FF-C5081FCC9DA0}" type="presParOf" srcId="{69B3C8D1-B96B-4B70-BEA7-13C2FD4F2D2E}" destId="{E0E8A8A0-FEE1-49A6-A9EB-DD51BD0C0A24}" srcOrd="0" destOrd="0" presId="urn:microsoft.com/office/officeart/2017/3/layout/DropPinTimeline"/>
    <dgm:cxn modelId="{B45F07FD-5FD0-4834-8298-653AE22F2999}" type="presParOf" srcId="{69B3C8D1-B96B-4B70-BEA7-13C2FD4F2D2E}" destId="{2717D9A2-9189-4342-94DD-23A8BAA3776D}" srcOrd="1" destOrd="0" presId="urn:microsoft.com/office/officeart/2017/3/layout/DropPinTimeline"/>
    <dgm:cxn modelId="{BFE5CE6C-19A3-4D37-AB42-0A9C5D4CB953}" type="presParOf" srcId="{66F91826-CC62-45BE-BD7E-5E5230BE29FA}" destId="{79587213-B55A-46CB-9540-38D2D6CE12F1}" srcOrd="2" destOrd="0" presId="urn:microsoft.com/office/officeart/2017/3/layout/DropPinTimeline"/>
    <dgm:cxn modelId="{7D8AE21B-C6FC-41C4-A690-AEF9A970F950}" type="presParOf" srcId="{66F91826-CC62-45BE-BD7E-5E5230BE29FA}" destId="{F2F4FAF4-B9DE-4CA9-B93A-12B8F3E12F3C}" srcOrd="3" destOrd="0" presId="urn:microsoft.com/office/officeart/2017/3/layout/DropPinTimeline"/>
    <dgm:cxn modelId="{5778C9D5-8F90-4470-B05D-6DF1FC8817C4}" type="presParOf" srcId="{66F91826-CC62-45BE-BD7E-5E5230BE29FA}" destId="{CFB15918-0EBA-45A1-BBEB-5E693A73B9B1}" srcOrd="4" destOrd="0" presId="urn:microsoft.com/office/officeart/2017/3/layout/DropPinTimeline"/>
    <dgm:cxn modelId="{EBD959AD-CDD1-485C-AF8C-30A9BECFB4A5}" type="presParOf" srcId="{66F91826-CC62-45BE-BD7E-5E5230BE29FA}" destId="{F84288E5-E066-4B98-9115-F6E62A7AA5B5}" srcOrd="5" destOrd="0" presId="urn:microsoft.com/office/officeart/2017/3/layout/DropPinTimeline"/>
    <dgm:cxn modelId="{AB9E289F-D372-4069-A3D5-CE73E33A9B0C}" type="presParOf" srcId="{E1D808D3-BFA3-45FB-938A-38F103292635}" destId="{F4A7DC62-662E-468B-BC54-A776B753A4FA}" srcOrd="13" destOrd="0" presId="urn:microsoft.com/office/officeart/2017/3/layout/DropPinTimeline"/>
    <dgm:cxn modelId="{70AC4722-1AE6-48C5-A73B-F28D7B6D20BA}" type="presParOf" srcId="{E1D808D3-BFA3-45FB-938A-38F103292635}" destId="{C2619832-A2E3-4688-9D41-3940A03D14C5}" srcOrd="14" destOrd="0" presId="urn:microsoft.com/office/officeart/2017/3/layout/DropPinTimeline"/>
    <dgm:cxn modelId="{BF5C62BA-D126-4A2D-AE43-696470532880}" type="presParOf" srcId="{C2619832-A2E3-4688-9D41-3940A03D14C5}" destId="{6DF61D9F-7146-4D42-AC2D-8834673A4168}" srcOrd="0" destOrd="0" presId="urn:microsoft.com/office/officeart/2017/3/layout/DropPinTimeline"/>
    <dgm:cxn modelId="{F1D29B9B-8912-48B0-AB39-AD118F61EE5A}" type="presParOf" srcId="{C2619832-A2E3-4688-9D41-3940A03D14C5}" destId="{B8DA05A8-5C1E-4E79-B096-0028A3F31870}" srcOrd="1" destOrd="0" presId="urn:microsoft.com/office/officeart/2017/3/layout/DropPinTimeline"/>
    <dgm:cxn modelId="{26F97139-F402-4467-B0DC-B7D08A79B436}" type="presParOf" srcId="{B8DA05A8-5C1E-4E79-B096-0028A3F31870}" destId="{FC31906E-963C-4DB5-8668-33489C2630F7}" srcOrd="0" destOrd="0" presId="urn:microsoft.com/office/officeart/2017/3/layout/DropPinTimeline"/>
    <dgm:cxn modelId="{31870688-BD66-492A-9B51-159F66E53886}" type="presParOf" srcId="{B8DA05A8-5C1E-4E79-B096-0028A3F31870}" destId="{C6E4C95E-E44D-4D8D-8F70-4416691CAC0C}" srcOrd="1" destOrd="0" presId="urn:microsoft.com/office/officeart/2017/3/layout/DropPinTimeline"/>
    <dgm:cxn modelId="{B3D0E304-D737-4316-B0E8-5020245E5D29}" type="presParOf" srcId="{C2619832-A2E3-4688-9D41-3940A03D14C5}" destId="{A165DFD7-8838-4766-BD38-84F8546D8B75}" srcOrd="2" destOrd="0" presId="urn:microsoft.com/office/officeart/2017/3/layout/DropPinTimeline"/>
    <dgm:cxn modelId="{6E7AE704-F995-49F7-89D1-B7627D7BBD42}" type="presParOf" srcId="{C2619832-A2E3-4688-9D41-3940A03D14C5}" destId="{9CB392C1-9AE1-415D-A3D7-85B4C7C3E0C6}" srcOrd="3" destOrd="0" presId="urn:microsoft.com/office/officeart/2017/3/layout/DropPinTimeline"/>
    <dgm:cxn modelId="{8E3A25C1-E029-4B82-BE89-55D84F0254D6}" type="presParOf" srcId="{C2619832-A2E3-4688-9D41-3940A03D14C5}" destId="{5A6BFDFD-1980-4E58-B9A0-B68D0561A955}" srcOrd="4" destOrd="0" presId="urn:microsoft.com/office/officeart/2017/3/layout/DropPinTimeline"/>
    <dgm:cxn modelId="{92A8F0CC-26CF-493F-848D-4CC2E17AD260}" type="presParOf" srcId="{C2619832-A2E3-4688-9D41-3940A03D14C5}" destId="{F88D79A4-29B7-4638-A742-10CAC0001F74}" srcOrd="5" destOrd="0" presId="urn:microsoft.com/office/officeart/2017/3/layout/DropPinTimeline"/>
    <dgm:cxn modelId="{1EC331CA-B7B1-4C71-AB15-5493C49F8481}" type="presParOf" srcId="{E1D808D3-BFA3-45FB-938A-38F103292635}" destId="{C0BBCDC3-21FD-4FF5-AB9C-B8038AC7ECDA}" srcOrd="15" destOrd="0" presId="urn:microsoft.com/office/officeart/2017/3/layout/DropPinTimeline"/>
    <dgm:cxn modelId="{7EE004E0-044C-4705-9BDE-D49B1833B1FA}" type="presParOf" srcId="{E1D808D3-BFA3-45FB-938A-38F103292635}" destId="{0F5E07A0-F5F7-436F-A68F-C80EC28CA13B}" srcOrd="16" destOrd="0" presId="urn:microsoft.com/office/officeart/2017/3/layout/DropPinTimeline"/>
    <dgm:cxn modelId="{5016AB12-1CA8-4FCD-985D-A8DE9AAB60D6}" type="presParOf" srcId="{0F5E07A0-F5F7-436F-A68F-C80EC28CA13B}" destId="{8DBBD4E2-E4E5-4204-A0CE-71D36BE3EEF3}" srcOrd="0" destOrd="0" presId="urn:microsoft.com/office/officeart/2017/3/layout/DropPinTimeline"/>
    <dgm:cxn modelId="{76F3BF93-63D4-465E-BC23-52CA742E51B1}" type="presParOf" srcId="{0F5E07A0-F5F7-436F-A68F-C80EC28CA13B}" destId="{CA6FE735-630A-4862-A537-C53A9E888ECF}" srcOrd="1" destOrd="0" presId="urn:microsoft.com/office/officeart/2017/3/layout/DropPinTimeline"/>
    <dgm:cxn modelId="{98A4DD35-FB47-46E8-88E1-DE52E30956C6}" type="presParOf" srcId="{CA6FE735-630A-4862-A537-C53A9E888ECF}" destId="{B860117A-9DBE-4D58-B966-06BD6F98E9B3}" srcOrd="0" destOrd="0" presId="urn:microsoft.com/office/officeart/2017/3/layout/DropPinTimeline"/>
    <dgm:cxn modelId="{67E99B0F-16FB-4BFD-A4D5-13BBF6779777}" type="presParOf" srcId="{CA6FE735-630A-4862-A537-C53A9E888ECF}" destId="{E16A5863-7012-44BD-8241-F298B637D44E}" srcOrd="1" destOrd="0" presId="urn:microsoft.com/office/officeart/2017/3/layout/DropPinTimeline"/>
    <dgm:cxn modelId="{491A7279-A5B7-47EA-BB3A-CBB304EB7605}" type="presParOf" srcId="{0F5E07A0-F5F7-436F-A68F-C80EC28CA13B}" destId="{E89DA8DA-472A-4F11-BBDB-F8E26CC502F4}" srcOrd="2" destOrd="0" presId="urn:microsoft.com/office/officeart/2017/3/layout/DropPinTimeline"/>
    <dgm:cxn modelId="{5BCF8A26-EB77-4E6D-B65A-3A08D322C8EB}" type="presParOf" srcId="{0F5E07A0-F5F7-436F-A68F-C80EC28CA13B}" destId="{A28D79A3-22A5-4B87-9855-8D1491FCB71B}" srcOrd="3" destOrd="0" presId="urn:microsoft.com/office/officeart/2017/3/layout/DropPinTimeline"/>
    <dgm:cxn modelId="{63D2C03F-E256-4257-BDE8-EB6DC12372A0}" type="presParOf" srcId="{0F5E07A0-F5F7-436F-A68F-C80EC28CA13B}" destId="{BB1FC865-BC56-4E8C-BEBD-CDBAC245FB04}" srcOrd="4" destOrd="0" presId="urn:microsoft.com/office/officeart/2017/3/layout/DropPinTimeline"/>
    <dgm:cxn modelId="{E03AA752-2208-4659-931D-4309406A655A}" type="presParOf" srcId="{0F5E07A0-F5F7-436F-A68F-C80EC28CA13B}" destId="{498BF1C9-BB83-45A3-802F-F2606DD33E94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BF6263-F27C-4B9D-B415-70D4F32E54A3}">
      <dsp:nvSpPr>
        <dsp:cNvPr id="0" name=""/>
        <dsp:cNvSpPr/>
      </dsp:nvSpPr>
      <dsp:spPr>
        <a:xfrm>
          <a:off x="1353572" y="1570382"/>
          <a:ext cx="4711148" cy="4711148"/>
        </a:xfrm>
        <a:prstGeom prst="ellipse">
          <a:avLst/>
        </a:prstGeom>
        <a:solidFill>
          <a:srgbClr val="86A4F7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3F5B44-37A6-43CA-BEF5-FEE5E6F50FA4}">
      <dsp:nvSpPr>
        <dsp:cNvPr id="0" name=""/>
        <dsp:cNvSpPr/>
      </dsp:nvSpPr>
      <dsp:spPr>
        <a:xfrm>
          <a:off x="2295801" y="2512612"/>
          <a:ext cx="2826688" cy="2826688"/>
        </a:xfrm>
        <a:prstGeom prst="ellipse">
          <a:avLst/>
        </a:prstGeom>
        <a:solidFill>
          <a:srgbClr val="6CE1A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F4E7AF-4A29-47F7-A839-78ACC447B156}">
      <dsp:nvSpPr>
        <dsp:cNvPr id="0" name=""/>
        <dsp:cNvSpPr/>
      </dsp:nvSpPr>
      <dsp:spPr>
        <a:xfrm>
          <a:off x="3238031" y="3454842"/>
          <a:ext cx="942229" cy="942229"/>
        </a:xfrm>
        <a:prstGeom prst="ellipse">
          <a:avLst/>
        </a:prstGeom>
        <a:solidFill>
          <a:srgbClr val="EAF9F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D5819E-247B-46CE-B637-D13FB4E5C0B9}">
      <dsp:nvSpPr>
        <dsp:cNvPr id="0" name=""/>
        <dsp:cNvSpPr/>
      </dsp:nvSpPr>
      <dsp:spPr>
        <a:xfrm>
          <a:off x="6851301" y="118226"/>
          <a:ext cx="3978187" cy="13740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 dirty="0">
              <a:latin typeface="Helvetica" panose="020B0604020202020204" pitchFamily="34" charset="0"/>
              <a:cs typeface="Helvetica" panose="020B0604020202020204" pitchFamily="34" charset="0"/>
            </a:rPr>
            <a:t>Kjernegruppe i fakultetsadministrasjonen</a:t>
          </a:r>
        </a:p>
        <a:p>
          <a:pPr marL="90488" lvl="1" indent="-90488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>
              <a:latin typeface="Helvetica" panose="020B0604020202020204" pitchFamily="34" charset="0"/>
              <a:cs typeface="Helvetica" panose="020B0604020202020204" pitchFamily="34" charset="0"/>
            </a:rPr>
            <a:t>Koordinator (100%)</a:t>
          </a:r>
        </a:p>
        <a:p>
          <a:pPr marL="90488" lvl="1" indent="-90488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>
              <a:latin typeface="Helvetica" panose="020B0604020202020204" pitchFamily="34" charset="0"/>
              <a:cs typeface="Helvetica" panose="020B0604020202020204" pitchFamily="34" charset="0"/>
            </a:rPr>
            <a:t>IT/AV-ansvarlig (50%)</a:t>
          </a:r>
        </a:p>
        <a:p>
          <a:pPr marL="90488" lvl="1" indent="-90488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>
              <a:latin typeface="Helvetica" panose="020B0604020202020204" pitchFamily="34" charset="0"/>
              <a:cs typeface="Helvetica" panose="020B0604020202020204" pitchFamily="34" charset="0"/>
            </a:rPr>
            <a:t>Studentmedarbeidere i førstelinja</a:t>
          </a:r>
        </a:p>
      </dsp:txBody>
      <dsp:txXfrm>
        <a:off x="6851301" y="118226"/>
        <a:ext cx="3978187" cy="1374084"/>
      </dsp:txXfrm>
    </dsp:sp>
    <dsp:sp modelId="{5106173B-13F5-4FA1-89D7-B037B53675B7}">
      <dsp:nvSpPr>
        <dsp:cNvPr id="0" name=""/>
        <dsp:cNvSpPr/>
      </dsp:nvSpPr>
      <dsp:spPr>
        <a:xfrm>
          <a:off x="6261018" y="687042"/>
          <a:ext cx="588893" cy="0"/>
        </a:xfrm>
        <a:prstGeom prst="line">
          <a:avLst/>
        </a:prstGeom>
        <a:solidFill>
          <a:schemeClr val="dk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9BB3DA-0F89-467E-A097-11C5D89E44DF}">
      <dsp:nvSpPr>
        <dsp:cNvPr id="0" name=""/>
        <dsp:cNvSpPr/>
      </dsp:nvSpPr>
      <dsp:spPr>
        <a:xfrm rot="5400000">
          <a:off x="3364839" y="1032134"/>
          <a:ext cx="3238129" cy="2549516"/>
        </a:xfrm>
        <a:prstGeom prst="line">
          <a:avLst/>
        </a:prstGeom>
        <a:solidFill>
          <a:schemeClr val="dk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3585E2-6405-4D1D-822F-0C554AF0517B}">
      <dsp:nvSpPr>
        <dsp:cNvPr id="0" name=""/>
        <dsp:cNvSpPr/>
      </dsp:nvSpPr>
      <dsp:spPr>
        <a:xfrm>
          <a:off x="6826591" y="1635992"/>
          <a:ext cx="3412850" cy="9179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u="none" kern="1200" dirty="0">
              <a:latin typeface="Helvetica" panose="020B0604020202020204" pitchFamily="34" charset="0"/>
              <a:cs typeface="Helvetica" panose="020B0604020202020204" pitchFamily="34" charset="0"/>
            </a:rPr>
            <a:t>Læringskontaktnettverke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u="none" kern="1200" dirty="0">
              <a:latin typeface="Helvetica" panose="020B0604020202020204" pitchFamily="34" charset="0"/>
              <a:cs typeface="Helvetica" panose="020B0604020202020204" pitchFamily="34" charset="0"/>
            </a:rPr>
            <a:t>undervisere fra enheten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u="none" kern="1200" dirty="0">
              <a:latin typeface="Helvetica" panose="020B0604020202020204" pitchFamily="34" charset="0"/>
              <a:cs typeface="Helvetica" panose="020B0604020202020204" pitchFamily="34" charset="0"/>
            </a:rPr>
            <a:t>vitenskapelig assistenter</a:t>
          </a:r>
        </a:p>
      </dsp:txBody>
      <dsp:txXfrm>
        <a:off x="6826591" y="1635992"/>
        <a:ext cx="3412850" cy="917929"/>
      </dsp:txXfrm>
    </dsp:sp>
    <dsp:sp modelId="{AAF98C98-719F-40DA-BAA8-7417A8357E3A}">
      <dsp:nvSpPr>
        <dsp:cNvPr id="0" name=""/>
        <dsp:cNvSpPr/>
      </dsp:nvSpPr>
      <dsp:spPr>
        <a:xfrm>
          <a:off x="6261018" y="2061127"/>
          <a:ext cx="588893" cy="0"/>
        </a:xfrm>
        <a:prstGeom prst="line">
          <a:avLst/>
        </a:prstGeom>
        <a:solidFill>
          <a:schemeClr val="dk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23758F-5341-44EE-B03C-596651CB8EEE}">
      <dsp:nvSpPr>
        <dsp:cNvPr id="0" name=""/>
        <dsp:cNvSpPr/>
      </dsp:nvSpPr>
      <dsp:spPr>
        <a:xfrm rot="5400000">
          <a:off x="4059891" y="2384783"/>
          <a:ext cx="2523291" cy="1874251"/>
        </a:xfrm>
        <a:prstGeom prst="line">
          <a:avLst/>
        </a:prstGeom>
        <a:solidFill>
          <a:schemeClr val="dk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DC6E6D-A11F-47D8-BA6E-47466F8EA7C7}">
      <dsp:nvSpPr>
        <dsp:cNvPr id="0" name=""/>
        <dsp:cNvSpPr/>
      </dsp:nvSpPr>
      <dsp:spPr>
        <a:xfrm>
          <a:off x="6960411" y="2681162"/>
          <a:ext cx="2964160" cy="15772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22860" rIns="22860" bIns="2286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 dirty="0">
              <a:latin typeface="Helvetica" panose="020B0604020202020204" pitchFamily="34" charset="0"/>
              <a:cs typeface="Helvetica" panose="020B0604020202020204" pitchFamily="34" charset="0"/>
            </a:rPr>
            <a:t>Nettverk og samarbeidspartner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>
              <a:latin typeface="Helvetica" panose="020B0604020202020204" pitchFamily="34" charset="0"/>
              <a:cs typeface="Helvetica" panose="020B0604020202020204" pitchFamily="34" charset="0"/>
            </a:rPr>
            <a:t>IT-avdelinge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>
              <a:latin typeface="Helvetica" panose="020B0604020202020204" pitchFamily="34" charset="0"/>
              <a:cs typeface="Helvetica" panose="020B0604020202020204" pitchFamily="34" charset="0"/>
            </a:rPr>
            <a:t>LINK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>
              <a:latin typeface="Helvetica" panose="020B0604020202020204" pitchFamily="34" charset="0"/>
              <a:cs typeface="Helvetica" panose="020B0604020202020204" pitchFamily="34" charset="0"/>
            </a:rPr>
            <a:t>pedagogiske støtteenheter</a:t>
          </a:r>
        </a:p>
      </dsp:txBody>
      <dsp:txXfrm>
        <a:off x="6960411" y="2681162"/>
        <a:ext cx="2964160" cy="1577215"/>
      </dsp:txXfrm>
    </dsp:sp>
    <dsp:sp modelId="{45C614D8-B62D-4DE9-808A-614083289EB0}">
      <dsp:nvSpPr>
        <dsp:cNvPr id="0" name=""/>
        <dsp:cNvSpPr/>
      </dsp:nvSpPr>
      <dsp:spPr>
        <a:xfrm>
          <a:off x="6261018" y="3435212"/>
          <a:ext cx="588893" cy="0"/>
        </a:xfrm>
        <a:prstGeom prst="line">
          <a:avLst/>
        </a:prstGeom>
        <a:solidFill>
          <a:schemeClr val="dk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473DCC-7004-4298-BC9C-7F07FE148320}">
      <dsp:nvSpPr>
        <dsp:cNvPr id="0" name=""/>
        <dsp:cNvSpPr/>
      </dsp:nvSpPr>
      <dsp:spPr>
        <a:xfrm rot="5400000">
          <a:off x="4755806" y="3736333"/>
          <a:ext cx="1802799" cy="1198987"/>
        </a:xfrm>
        <a:prstGeom prst="line">
          <a:avLst/>
        </a:prstGeom>
        <a:solidFill>
          <a:schemeClr val="dk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E325AC-8D3A-4294-9EF5-A8A8C3950E14}">
      <dsp:nvSpPr>
        <dsp:cNvPr id="0" name=""/>
        <dsp:cNvSpPr/>
      </dsp:nvSpPr>
      <dsp:spPr>
        <a:xfrm>
          <a:off x="1772088" y="217"/>
          <a:ext cx="4661333" cy="2796800"/>
        </a:xfrm>
        <a:prstGeom prst="rect">
          <a:avLst/>
        </a:prstGeom>
        <a:solidFill>
          <a:srgbClr val="EAF9F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000" kern="1200" dirty="0">
              <a:solidFill>
                <a:schemeClr val="tx1"/>
              </a:solidFill>
              <a:latin typeface="+mj-lt"/>
            </a:rPr>
            <a:t>Pedagogisk kompetanse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tx1"/>
              </a:solidFill>
              <a:latin typeface="+mj-lt"/>
              <a:ea typeface="Times New Roman" panose="02020603050405020304" pitchFamily="18" charset="0"/>
              <a:cs typeface="Times New Roman" panose="02020603050405020304" pitchFamily="18" charset="0"/>
            </a:rPr>
            <a:t>Kurs/opplæring: både faste tilbud og etter behov</a:t>
          </a:r>
          <a:endParaRPr lang="nb-NO" sz="2300" kern="1200" dirty="0">
            <a:solidFill>
              <a:schemeClr val="tx1"/>
            </a:solidFill>
            <a:latin typeface="+mj-lt"/>
          </a:endParaRP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tx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Støtte til </a:t>
          </a:r>
          <a:r>
            <a:rPr lang="nb-NO" sz="2300" kern="1200" dirty="0">
              <a:solidFill>
                <a:schemeClr val="tx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utviklingsarbeid i emner og programmer</a:t>
          </a:r>
          <a:endParaRPr lang="nb-NO" sz="2300" kern="1200" dirty="0">
            <a:solidFill>
              <a:schemeClr val="tx1"/>
            </a:solidFill>
            <a:effectLst/>
            <a:latin typeface="+mj-lt"/>
            <a:ea typeface="Calibri" panose="020F0502020204030204" pitchFamily="34" charset="0"/>
            <a:cs typeface="Times New Roman" panose="02020603050405020304" pitchFamily="18" charset="0"/>
          </a:endParaRP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rPr>
            <a:t>Kunnskapsbaserte (nett)ressurser</a:t>
          </a:r>
          <a:endParaRPr lang="nb-NO" sz="2300" kern="1200" dirty="0">
            <a:solidFill>
              <a:schemeClr val="tx1"/>
            </a:solidFill>
            <a:effectLst/>
            <a:latin typeface="+mj-lt"/>
            <a:ea typeface="Times New Roman" panose="02020603050405020304" pitchFamily="18" charset="0"/>
            <a:cs typeface="Arial" panose="020B0604020202020204" pitchFamily="34" charset="0"/>
          </a:endParaRPr>
        </a:p>
      </dsp:txBody>
      <dsp:txXfrm>
        <a:off x="1772088" y="217"/>
        <a:ext cx="4661333" cy="2796800"/>
      </dsp:txXfrm>
    </dsp:sp>
    <dsp:sp modelId="{81D3062E-97C5-426C-8423-DFD2000067BC}">
      <dsp:nvSpPr>
        <dsp:cNvPr id="0" name=""/>
        <dsp:cNvSpPr/>
      </dsp:nvSpPr>
      <dsp:spPr>
        <a:xfrm>
          <a:off x="6899555" y="217"/>
          <a:ext cx="4661333" cy="2796800"/>
        </a:xfrm>
        <a:prstGeom prst="rect">
          <a:avLst/>
        </a:prstGeom>
        <a:solidFill>
          <a:srgbClr val="584B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000" kern="1200" dirty="0">
              <a:solidFill>
                <a:schemeClr val="bg1"/>
              </a:solidFill>
              <a:latin typeface="+mj-lt"/>
            </a:rPr>
            <a:t>Teknisk kompetanse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EILIN førstelinje</a:t>
          </a:r>
          <a:endParaRPr lang="nb-NO" sz="2300" kern="1200" dirty="0">
            <a:solidFill>
              <a:schemeClr val="bg1"/>
            </a:solidFill>
            <a:latin typeface="+mj-lt"/>
          </a:endParaRP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Sikre oppdatert infrastruktur </a:t>
          </a:r>
          <a:endParaRPr lang="nb-NO" sz="2300" kern="1200" dirty="0">
            <a:solidFill>
              <a:schemeClr val="bg1"/>
            </a:solidFill>
            <a:latin typeface="+mj-lt"/>
            <a:cs typeface="Times New Roman" panose="02020603050405020304" pitchFamily="18" charset="0"/>
          </a:endParaRP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Støtte til universell utforming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Utrulling av nye plattformer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 err="1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Monitorere</a:t>
          </a:r>
          <a:r>
            <a:rPr lang="nb-NO" sz="2300" kern="1200" dirty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 behov</a:t>
          </a:r>
        </a:p>
      </dsp:txBody>
      <dsp:txXfrm>
        <a:off x="6899555" y="217"/>
        <a:ext cx="4661333" cy="2796800"/>
      </dsp:txXfrm>
    </dsp:sp>
    <dsp:sp modelId="{0132F874-C78D-4B56-8C4E-BB3CDC7C9DEA}">
      <dsp:nvSpPr>
        <dsp:cNvPr id="0" name=""/>
        <dsp:cNvSpPr/>
      </dsp:nvSpPr>
      <dsp:spPr>
        <a:xfrm>
          <a:off x="1772088" y="3263150"/>
          <a:ext cx="4661333" cy="2796800"/>
        </a:xfrm>
        <a:prstGeom prst="rect">
          <a:avLst/>
        </a:prstGeom>
        <a:solidFill>
          <a:srgbClr val="86A4F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000" kern="1200" dirty="0" err="1">
              <a:solidFill>
                <a:schemeClr val="tx1"/>
              </a:solidFill>
              <a:latin typeface="+mj-lt"/>
            </a:rPr>
            <a:t>Bestillerkompetanse</a:t>
          </a:r>
          <a:endParaRPr lang="nb-NO" sz="3000" kern="1200" dirty="0">
            <a:solidFill>
              <a:schemeClr val="tx1"/>
            </a:solidFill>
            <a:latin typeface="+mj-lt"/>
          </a:endParaRP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tx1"/>
              </a:solidFill>
              <a:latin typeface="+mj-lt"/>
            </a:rPr>
            <a:t>Jevnlig kontakt med IT-avdelingen, LINK ol.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tx1"/>
              </a:solidFill>
              <a:latin typeface="+mj-lt"/>
            </a:rPr>
            <a:t>Samarbeid med andre støtteenheter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tx1"/>
              </a:solidFill>
              <a:latin typeface="+mj-lt"/>
            </a:rPr>
            <a:t>Deltagelse i nettverk ved UiO</a:t>
          </a:r>
        </a:p>
      </dsp:txBody>
      <dsp:txXfrm>
        <a:off x="1772088" y="3263150"/>
        <a:ext cx="4661333" cy="2796800"/>
      </dsp:txXfrm>
    </dsp:sp>
    <dsp:sp modelId="{BCBFA930-B302-48A7-813C-4590F65F6EB4}">
      <dsp:nvSpPr>
        <dsp:cNvPr id="0" name=""/>
        <dsp:cNvSpPr/>
      </dsp:nvSpPr>
      <dsp:spPr>
        <a:xfrm>
          <a:off x="6899555" y="3263150"/>
          <a:ext cx="4661333" cy="2796800"/>
        </a:xfrm>
        <a:prstGeom prst="rect">
          <a:avLst/>
        </a:prstGeom>
        <a:solidFill>
          <a:srgbClr val="6CE1A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000" kern="1200" dirty="0">
              <a:solidFill>
                <a:schemeClr val="tx1"/>
              </a:solidFill>
              <a:latin typeface="+mj-lt"/>
            </a:rPr>
            <a:t>Koordinerende rolle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tx1"/>
              </a:solidFill>
              <a:latin typeface="+mj-lt"/>
            </a:rPr>
            <a:t>Arenaer for erfaringsdeling (UiO, fakultet, enhet)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tx1"/>
              </a:solidFill>
              <a:latin typeface="+mj-lt"/>
            </a:rPr>
            <a:t>Incentiver: Såkornmidler, LINK timer, SK-ITU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300" kern="1200" dirty="0">
              <a:solidFill>
                <a:schemeClr val="tx1"/>
              </a:solidFill>
              <a:latin typeface="+mj-lt"/>
            </a:rPr>
            <a:t>INTED</a:t>
          </a:r>
        </a:p>
      </dsp:txBody>
      <dsp:txXfrm>
        <a:off x="6899555" y="3263150"/>
        <a:ext cx="4661333" cy="27968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B1F9C6-30CF-4CFF-A2DB-5C6A7F36226D}">
      <dsp:nvSpPr>
        <dsp:cNvPr id="0" name=""/>
        <dsp:cNvSpPr/>
      </dsp:nvSpPr>
      <dsp:spPr>
        <a:xfrm>
          <a:off x="0" y="2150551"/>
          <a:ext cx="11471910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EBEEBC-84FE-42A8-B3B7-3EAD870B277B}">
      <dsp:nvSpPr>
        <dsp:cNvPr id="0" name=""/>
        <dsp:cNvSpPr/>
      </dsp:nvSpPr>
      <dsp:spPr>
        <a:xfrm rot="8100000">
          <a:off x="66649" y="499400"/>
          <a:ext cx="308733" cy="308733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F5BCD7-7FC7-40AB-8081-7D52DE42F45B}">
      <dsp:nvSpPr>
        <dsp:cNvPr id="0" name=""/>
        <dsp:cNvSpPr/>
      </dsp:nvSpPr>
      <dsp:spPr>
        <a:xfrm>
          <a:off x="100946" y="533698"/>
          <a:ext cx="240138" cy="24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CF91FD-D53A-409F-BDB2-1E14211304AA}">
      <dsp:nvSpPr>
        <dsp:cNvPr id="0" name=""/>
        <dsp:cNvSpPr/>
      </dsp:nvSpPr>
      <dsp:spPr>
        <a:xfrm>
          <a:off x="439323" y="877425"/>
          <a:ext cx="1863139" cy="1273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2550" rIns="82550" bIns="123825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K-ITU </a:t>
          </a:r>
          <a:r>
            <a:rPr lang="en-US" sz="1300" kern="1200" dirty="0" err="1"/>
            <a:t>tildeling</a:t>
          </a:r>
          <a:r>
            <a:rPr lang="en-US" sz="1300" kern="1200" dirty="0"/>
            <a:t> </a:t>
          </a:r>
          <a:r>
            <a:rPr lang="en-US" sz="1300" kern="1200" dirty="0" err="1"/>
            <a:t>til</a:t>
          </a:r>
          <a:r>
            <a:rPr lang="en-US" sz="1300" kern="1200" dirty="0"/>
            <a:t> </a:t>
          </a:r>
          <a:r>
            <a:rPr lang="en-US" sz="1300" kern="1200" dirty="0" err="1"/>
            <a:t>etableringen</a:t>
          </a:r>
          <a:r>
            <a:rPr lang="en-US" sz="1300" kern="1200" dirty="0"/>
            <a:t> av EILIN</a:t>
          </a:r>
        </a:p>
      </dsp:txBody>
      <dsp:txXfrm>
        <a:off x="439323" y="877425"/>
        <a:ext cx="1863139" cy="1273126"/>
      </dsp:txXfrm>
    </dsp:sp>
    <dsp:sp modelId="{54122E80-DBBC-442C-832E-897B452C591F}">
      <dsp:nvSpPr>
        <dsp:cNvPr id="0" name=""/>
        <dsp:cNvSpPr/>
      </dsp:nvSpPr>
      <dsp:spPr>
        <a:xfrm>
          <a:off x="439323" y="430110"/>
          <a:ext cx="1863139" cy="447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7950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/>
            <a:t>Primo 2021</a:t>
          </a:r>
        </a:p>
      </dsp:txBody>
      <dsp:txXfrm>
        <a:off x="439323" y="430110"/>
        <a:ext cx="1863139" cy="447314"/>
      </dsp:txXfrm>
    </dsp:sp>
    <dsp:sp modelId="{6C62B183-CA78-462A-BF72-DF85D4C04AE2}">
      <dsp:nvSpPr>
        <dsp:cNvPr id="0" name=""/>
        <dsp:cNvSpPr/>
      </dsp:nvSpPr>
      <dsp:spPr>
        <a:xfrm>
          <a:off x="221015" y="877425"/>
          <a:ext cx="0" cy="12731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D14EC7-7A84-40C1-82A1-AF02051D4AF5}">
      <dsp:nvSpPr>
        <dsp:cNvPr id="0" name=""/>
        <dsp:cNvSpPr/>
      </dsp:nvSpPr>
      <dsp:spPr>
        <a:xfrm>
          <a:off x="187070" y="2110293"/>
          <a:ext cx="78590" cy="805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B60744-1BB8-4029-BF0E-54A25726DC6B}">
      <dsp:nvSpPr>
        <dsp:cNvPr id="0" name=""/>
        <dsp:cNvSpPr/>
      </dsp:nvSpPr>
      <dsp:spPr>
        <a:xfrm rot="18900000">
          <a:off x="1212491" y="3492968"/>
          <a:ext cx="308733" cy="308733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5DA0C5-6940-4231-B055-21FFE1CB3E86}">
      <dsp:nvSpPr>
        <dsp:cNvPr id="0" name=""/>
        <dsp:cNvSpPr/>
      </dsp:nvSpPr>
      <dsp:spPr>
        <a:xfrm>
          <a:off x="1246788" y="3527266"/>
          <a:ext cx="240138" cy="24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6EF3D9-950F-4DE0-8F32-6598AA829A44}">
      <dsp:nvSpPr>
        <dsp:cNvPr id="0" name=""/>
        <dsp:cNvSpPr/>
      </dsp:nvSpPr>
      <dsp:spPr>
        <a:xfrm>
          <a:off x="1570670" y="2099937"/>
          <a:ext cx="1863139" cy="1273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3825" rIns="0" bIns="82550" numCol="1" spcCol="1270" anchor="b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 err="1"/>
            <a:t>Oppstart</a:t>
          </a:r>
          <a:r>
            <a:rPr lang="en-US" sz="1300" kern="1200" dirty="0"/>
            <a:t> Matthew Rix Whiting</a:t>
          </a:r>
        </a:p>
      </dsp:txBody>
      <dsp:txXfrm>
        <a:off x="1570670" y="2099937"/>
        <a:ext cx="1863139" cy="1273126"/>
      </dsp:txXfrm>
    </dsp:sp>
    <dsp:sp modelId="{1934EAB6-F902-4585-B161-469AB7852B8F}">
      <dsp:nvSpPr>
        <dsp:cNvPr id="0" name=""/>
        <dsp:cNvSpPr/>
      </dsp:nvSpPr>
      <dsp:spPr>
        <a:xfrm>
          <a:off x="1570670" y="3373064"/>
          <a:ext cx="1863139" cy="447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7950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 err="1"/>
            <a:t>Oktober</a:t>
          </a:r>
          <a:r>
            <a:rPr lang="en-US" sz="1700" kern="1200" dirty="0"/>
            <a:t> 2021</a:t>
          </a:r>
        </a:p>
      </dsp:txBody>
      <dsp:txXfrm>
        <a:off x="1570670" y="3373064"/>
        <a:ext cx="1863139" cy="447314"/>
      </dsp:txXfrm>
    </dsp:sp>
    <dsp:sp modelId="{0D8B5AA3-134A-45E6-8BEE-E17D59D31456}">
      <dsp:nvSpPr>
        <dsp:cNvPr id="0" name=""/>
        <dsp:cNvSpPr/>
      </dsp:nvSpPr>
      <dsp:spPr>
        <a:xfrm>
          <a:off x="1366858" y="2150551"/>
          <a:ext cx="0" cy="12731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C825B6-05E5-4AD9-829F-92DFFD4E673D}">
      <dsp:nvSpPr>
        <dsp:cNvPr id="0" name=""/>
        <dsp:cNvSpPr/>
      </dsp:nvSpPr>
      <dsp:spPr>
        <a:xfrm>
          <a:off x="1332912" y="2110293"/>
          <a:ext cx="78590" cy="805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804FB4-EDD6-4325-A227-8261F8B5254A}">
      <dsp:nvSpPr>
        <dsp:cNvPr id="0" name=""/>
        <dsp:cNvSpPr/>
      </dsp:nvSpPr>
      <dsp:spPr>
        <a:xfrm rot="8100000">
          <a:off x="2358333" y="499400"/>
          <a:ext cx="308733" cy="308733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2403E6-0E42-432C-9961-2E5C75F4B1AA}">
      <dsp:nvSpPr>
        <dsp:cNvPr id="0" name=""/>
        <dsp:cNvSpPr/>
      </dsp:nvSpPr>
      <dsp:spPr>
        <a:xfrm>
          <a:off x="2392631" y="533698"/>
          <a:ext cx="240138" cy="24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211C87-5648-406C-8BE0-76037BE4A259}">
      <dsp:nvSpPr>
        <dsp:cNvPr id="0" name=""/>
        <dsp:cNvSpPr/>
      </dsp:nvSpPr>
      <dsp:spPr>
        <a:xfrm>
          <a:off x="2731008" y="877425"/>
          <a:ext cx="1863139" cy="1273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2550" rIns="82550" bIns="123825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EILIN </a:t>
          </a:r>
          <a:r>
            <a:rPr lang="en-US" sz="1300" kern="1200" dirty="0" err="1"/>
            <a:t>Førstelinje</a:t>
          </a:r>
          <a:r>
            <a:rPr lang="en-US" sz="1300" kern="1200" dirty="0"/>
            <a:t> </a:t>
          </a:r>
          <a:r>
            <a:rPr lang="en-US" sz="1300" kern="1200" dirty="0" err="1"/>
            <a:t>etablert</a:t>
          </a:r>
          <a:endParaRPr lang="en-US" sz="1300" kern="1200" dirty="0"/>
        </a:p>
      </dsp:txBody>
      <dsp:txXfrm>
        <a:off x="2731008" y="877425"/>
        <a:ext cx="1863139" cy="1273126"/>
      </dsp:txXfrm>
    </dsp:sp>
    <dsp:sp modelId="{F5AE2273-90DA-45AB-B803-F2D526980448}">
      <dsp:nvSpPr>
        <dsp:cNvPr id="0" name=""/>
        <dsp:cNvSpPr/>
      </dsp:nvSpPr>
      <dsp:spPr>
        <a:xfrm>
          <a:off x="2731008" y="430110"/>
          <a:ext cx="1863139" cy="447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7950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 err="1"/>
            <a:t>Januar</a:t>
          </a:r>
          <a:r>
            <a:rPr lang="en-US" sz="1700" kern="1200" dirty="0"/>
            <a:t> 2022</a:t>
          </a:r>
        </a:p>
      </dsp:txBody>
      <dsp:txXfrm>
        <a:off x="2731008" y="430110"/>
        <a:ext cx="1863139" cy="447314"/>
      </dsp:txXfrm>
    </dsp:sp>
    <dsp:sp modelId="{D0F97274-BEB8-4BC2-9833-23DAD7A7F27E}">
      <dsp:nvSpPr>
        <dsp:cNvPr id="0" name=""/>
        <dsp:cNvSpPr/>
      </dsp:nvSpPr>
      <dsp:spPr>
        <a:xfrm>
          <a:off x="2512700" y="877425"/>
          <a:ext cx="0" cy="12731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B926EF-A0DE-4785-8653-7FB8EA7636D1}">
      <dsp:nvSpPr>
        <dsp:cNvPr id="0" name=""/>
        <dsp:cNvSpPr/>
      </dsp:nvSpPr>
      <dsp:spPr>
        <a:xfrm>
          <a:off x="2478754" y="2110293"/>
          <a:ext cx="78590" cy="805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2DA62F-81C8-42C9-AFD8-C07F2CBBFA2E}">
      <dsp:nvSpPr>
        <dsp:cNvPr id="0" name=""/>
        <dsp:cNvSpPr/>
      </dsp:nvSpPr>
      <dsp:spPr>
        <a:xfrm rot="18900000">
          <a:off x="3504175" y="3492968"/>
          <a:ext cx="308733" cy="308733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C2BEA6-DC72-412A-980B-35215CA1D668}">
      <dsp:nvSpPr>
        <dsp:cNvPr id="0" name=""/>
        <dsp:cNvSpPr/>
      </dsp:nvSpPr>
      <dsp:spPr>
        <a:xfrm>
          <a:off x="3538473" y="3527266"/>
          <a:ext cx="240138" cy="24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E851A7-408D-4855-A10A-8796B16D64C4}">
      <dsp:nvSpPr>
        <dsp:cNvPr id="0" name=""/>
        <dsp:cNvSpPr/>
      </dsp:nvSpPr>
      <dsp:spPr>
        <a:xfrm>
          <a:off x="3876850" y="2150551"/>
          <a:ext cx="1863139" cy="1273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3825" rIns="0" bIns="82550" numCol="1" spcCol="1270" anchor="b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 err="1"/>
            <a:t>Oppstart</a:t>
          </a:r>
          <a:r>
            <a:rPr lang="en-US" sz="1300" kern="1200" dirty="0"/>
            <a:t> Siri Aamodt</a:t>
          </a:r>
        </a:p>
      </dsp:txBody>
      <dsp:txXfrm>
        <a:off x="3876850" y="2150551"/>
        <a:ext cx="1863139" cy="1273126"/>
      </dsp:txXfrm>
    </dsp:sp>
    <dsp:sp modelId="{718B8078-2D27-4CCE-AA55-AE1553F83A5F}">
      <dsp:nvSpPr>
        <dsp:cNvPr id="0" name=""/>
        <dsp:cNvSpPr/>
      </dsp:nvSpPr>
      <dsp:spPr>
        <a:xfrm>
          <a:off x="3876850" y="3423677"/>
          <a:ext cx="1863139" cy="447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7950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/>
            <a:t>Mars 2022</a:t>
          </a:r>
        </a:p>
      </dsp:txBody>
      <dsp:txXfrm>
        <a:off x="3876850" y="3423677"/>
        <a:ext cx="1863139" cy="447314"/>
      </dsp:txXfrm>
    </dsp:sp>
    <dsp:sp modelId="{2CFD0626-F508-458E-AED9-096C52DC24E0}">
      <dsp:nvSpPr>
        <dsp:cNvPr id="0" name=""/>
        <dsp:cNvSpPr/>
      </dsp:nvSpPr>
      <dsp:spPr>
        <a:xfrm>
          <a:off x="3658542" y="2150551"/>
          <a:ext cx="0" cy="12731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470A4D-FD33-40A9-BB96-9351CF45A306}">
      <dsp:nvSpPr>
        <dsp:cNvPr id="0" name=""/>
        <dsp:cNvSpPr/>
      </dsp:nvSpPr>
      <dsp:spPr>
        <a:xfrm>
          <a:off x="3624597" y="2110293"/>
          <a:ext cx="78590" cy="805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0E677A-1C05-4069-B739-4A726EC10671}">
      <dsp:nvSpPr>
        <dsp:cNvPr id="0" name=""/>
        <dsp:cNvSpPr/>
      </dsp:nvSpPr>
      <dsp:spPr>
        <a:xfrm rot="8100000">
          <a:off x="4650018" y="499400"/>
          <a:ext cx="308733" cy="308733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426964-70AF-44EB-BDD6-3FADB714EDA8}">
      <dsp:nvSpPr>
        <dsp:cNvPr id="0" name=""/>
        <dsp:cNvSpPr/>
      </dsp:nvSpPr>
      <dsp:spPr>
        <a:xfrm>
          <a:off x="4684315" y="533698"/>
          <a:ext cx="240138" cy="24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F8BB8D-70AD-4C1B-8460-FB5A46911710}">
      <dsp:nvSpPr>
        <dsp:cNvPr id="0" name=""/>
        <dsp:cNvSpPr/>
      </dsp:nvSpPr>
      <dsp:spPr>
        <a:xfrm>
          <a:off x="5022692" y="877425"/>
          <a:ext cx="1863139" cy="1273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2550" rIns="82550" bIns="123825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K-ITU </a:t>
          </a:r>
          <a:r>
            <a:rPr lang="en-US" sz="1300" kern="1200" dirty="0" err="1"/>
            <a:t>tildeling</a:t>
          </a:r>
          <a:r>
            <a:rPr lang="en-US" sz="1300" kern="1200" dirty="0"/>
            <a:t>: </a:t>
          </a:r>
          <a:r>
            <a:rPr lang="en-US" sz="1300" kern="1200" dirty="0" err="1"/>
            <a:t>Studentmedarbeidere</a:t>
          </a:r>
          <a:endParaRPr lang="en-US" sz="1300" kern="1200" dirty="0"/>
        </a:p>
      </dsp:txBody>
      <dsp:txXfrm>
        <a:off x="5022692" y="877425"/>
        <a:ext cx="1863139" cy="1273126"/>
      </dsp:txXfrm>
    </dsp:sp>
    <dsp:sp modelId="{01DB1E00-653E-4FD9-A084-619169E638F5}">
      <dsp:nvSpPr>
        <dsp:cNvPr id="0" name=""/>
        <dsp:cNvSpPr/>
      </dsp:nvSpPr>
      <dsp:spPr>
        <a:xfrm>
          <a:off x="5022692" y="430110"/>
          <a:ext cx="1863139" cy="447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7950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 err="1"/>
            <a:t>Juni</a:t>
          </a:r>
          <a:r>
            <a:rPr lang="en-US" sz="1700" kern="1200" dirty="0"/>
            <a:t> 2022</a:t>
          </a:r>
        </a:p>
      </dsp:txBody>
      <dsp:txXfrm>
        <a:off x="5022692" y="430110"/>
        <a:ext cx="1863139" cy="447314"/>
      </dsp:txXfrm>
    </dsp:sp>
    <dsp:sp modelId="{799936B6-30E4-429A-8FD8-70E9917B20FB}">
      <dsp:nvSpPr>
        <dsp:cNvPr id="0" name=""/>
        <dsp:cNvSpPr/>
      </dsp:nvSpPr>
      <dsp:spPr>
        <a:xfrm>
          <a:off x="4804385" y="877425"/>
          <a:ext cx="0" cy="12731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6D0A96-2197-436B-B6FB-E8F93A9F3E1D}">
      <dsp:nvSpPr>
        <dsp:cNvPr id="0" name=""/>
        <dsp:cNvSpPr/>
      </dsp:nvSpPr>
      <dsp:spPr>
        <a:xfrm>
          <a:off x="4770439" y="2110293"/>
          <a:ext cx="78590" cy="805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D281EB-0657-4FEA-AF87-5CD44E981927}">
      <dsp:nvSpPr>
        <dsp:cNvPr id="0" name=""/>
        <dsp:cNvSpPr/>
      </dsp:nvSpPr>
      <dsp:spPr>
        <a:xfrm rot="18900000">
          <a:off x="5795860" y="3492968"/>
          <a:ext cx="308733" cy="308733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8DE2C1-DED4-4D9C-A75C-3567DB584651}">
      <dsp:nvSpPr>
        <dsp:cNvPr id="0" name=""/>
        <dsp:cNvSpPr/>
      </dsp:nvSpPr>
      <dsp:spPr>
        <a:xfrm>
          <a:off x="5830158" y="3527266"/>
          <a:ext cx="240138" cy="24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D29176-07D0-40B3-B26F-DC836015E1F2}">
      <dsp:nvSpPr>
        <dsp:cNvPr id="0" name=""/>
        <dsp:cNvSpPr/>
      </dsp:nvSpPr>
      <dsp:spPr>
        <a:xfrm>
          <a:off x="6168535" y="2150551"/>
          <a:ext cx="1863139" cy="1273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3825" rIns="0" bIns="82550" numCol="1" spcCol="1270" anchor="b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 err="1"/>
            <a:t>Læringskontaktnettverket</a:t>
          </a:r>
          <a:r>
            <a:rPr lang="en-US" sz="1300" kern="1200" dirty="0"/>
            <a:t> </a:t>
          </a:r>
          <a:r>
            <a:rPr lang="en-US" sz="1300" kern="1200" dirty="0" err="1"/>
            <a:t>etablert</a:t>
          </a:r>
          <a:endParaRPr lang="en-US" sz="1300" kern="1200" dirty="0"/>
        </a:p>
      </dsp:txBody>
      <dsp:txXfrm>
        <a:off x="6168535" y="2150551"/>
        <a:ext cx="1863139" cy="1273126"/>
      </dsp:txXfrm>
    </dsp:sp>
    <dsp:sp modelId="{4698DDAC-5E52-4A16-A239-4564A0D23FCF}">
      <dsp:nvSpPr>
        <dsp:cNvPr id="0" name=""/>
        <dsp:cNvSpPr/>
      </dsp:nvSpPr>
      <dsp:spPr>
        <a:xfrm>
          <a:off x="6168535" y="3423677"/>
          <a:ext cx="1863139" cy="447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7950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/>
            <a:t>September 2022</a:t>
          </a:r>
        </a:p>
      </dsp:txBody>
      <dsp:txXfrm>
        <a:off x="6168535" y="3423677"/>
        <a:ext cx="1863139" cy="447314"/>
      </dsp:txXfrm>
    </dsp:sp>
    <dsp:sp modelId="{76039910-098A-4293-9039-FED0189FAEA3}">
      <dsp:nvSpPr>
        <dsp:cNvPr id="0" name=""/>
        <dsp:cNvSpPr/>
      </dsp:nvSpPr>
      <dsp:spPr>
        <a:xfrm>
          <a:off x="5950227" y="2150551"/>
          <a:ext cx="0" cy="12731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BC95DC-19FD-42CD-997E-4B93660CFA13}">
      <dsp:nvSpPr>
        <dsp:cNvPr id="0" name=""/>
        <dsp:cNvSpPr/>
      </dsp:nvSpPr>
      <dsp:spPr>
        <a:xfrm>
          <a:off x="5916281" y="2110293"/>
          <a:ext cx="78590" cy="805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E8A8A0-FEE1-49A6-A9EB-DD51BD0C0A24}">
      <dsp:nvSpPr>
        <dsp:cNvPr id="0" name=""/>
        <dsp:cNvSpPr/>
      </dsp:nvSpPr>
      <dsp:spPr>
        <a:xfrm rot="8100000">
          <a:off x="6941702" y="499400"/>
          <a:ext cx="308733" cy="308733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7D9A2-9189-4342-94DD-23A8BAA3776D}">
      <dsp:nvSpPr>
        <dsp:cNvPr id="0" name=""/>
        <dsp:cNvSpPr/>
      </dsp:nvSpPr>
      <dsp:spPr>
        <a:xfrm>
          <a:off x="6976000" y="533698"/>
          <a:ext cx="240138" cy="24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587213-B55A-46CB-9540-38D2D6CE12F1}">
      <dsp:nvSpPr>
        <dsp:cNvPr id="0" name=""/>
        <dsp:cNvSpPr/>
      </dsp:nvSpPr>
      <dsp:spPr>
        <a:xfrm>
          <a:off x="7314377" y="877425"/>
          <a:ext cx="1863139" cy="1273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2550" rIns="82550" bIns="123825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AI Task Force </a:t>
          </a:r>
          <a:r>
            <a:rPr lang="en-US" sz="1300" kern="1200" dirty="0" err="1"/>
            <a:t>etablert</a:t>
          </a:r>
          <a:endParaRPr lang="en-US" sz="1300" kern="1200" dirty="0"/>
        </a:p>
      </dsp:txBody>
      <dsp:txXfrm>
        <a:off x="7314377" y="877425"/>
        <a:ext cx="1863139" cy="1273126"/>
      </dsp:txXfrm>
    </dsp:sp>
    <dsp:sp modelId="{F2F4FAF4-B9DE-4CA9-B93A-12B8F3E12F3C}">
      <dsp:nvSpPr>
        <dsp:cNvPr id="0" name=""/>
        <dsp:cNvSpPr/>
      </dsp:nvSpPr>
      <dsp:spPr>
        <a:xfrm>
          <a:off x="7314377" y="430110"/>
          <a:ext cx="1863139" cy="447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7950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/>
            <a:t>Mars 2023</a:t>
          </a:r>
        </a:p>
      </dsp:txBody>
      <dsp:txXfrm>
        <a:off x="7314377" y="430110"/>
        <a:ext cx="1863139" cy="447314"/>
      </dsp:txXfrm>
    </dsp:sp>
    <dsp:sp modelId="{CFB15918-0EBA-45A1-BBEB-5E693A73B9B1}">
      <dsp:nvSpPr>
        <dsp:cNvPr id="0" name=""/>
        <dsp:cNvSpPr/>
      </dsp:nvSpPr>
      <dsp:spPr>
        <a:xfrm>
          <a:off x="7096069" y="877425"/>
          <a:ext cx="0" cy="12731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97F31C-0B7E-484A-A59C-4E4420EDB70A}">
      <dsp:nvSpPr>
        <dsp:cNvPr id="0" name=""/>
        <dsp:cNvSpPr/>
      </dsp:nvSpPr>
      <dsp:spPr>
        <a:xfrm>
          <a:off x="7062124" y="2110293"/>
          <a:ext cx="78590" cy="805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31906E-963C-4DB5-8668-33489C2630F7}">
      <dsp:nvSpPr>
        <dsp:cNvPr id="0" name=""/>
        <dsp:cNvSpPr/>
      </dsp:nvSpPr>
      <dsp:spPr>
        <a:xfrm rot="18900000">
          <a:off x="8087545" y="3492968"/>
          <a:ext cx="308733" cy="308733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E4C95E-E44D-4D8D-8F70-4416691CAC0C}">
      <dsp:nvSpPr>
        <dsp:cNvPr id="0" name=""/>
        <dsp:cNvSpPr/>
      </dsp:nvSpPr>
      <dsp:spPr>
        <a:xfrm>
          <a:off x="8121842" y="3527266"/>
          <a:ext cx="240138" cy="24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65DFD7-8838-4766-BD38-84F8546D8B75}">
      <dsp:nvSpPr>
        <dsp:cNvPr id="0" name=""/>
        <dsp:cNvSpPr/>
      </dsp:nvSpPr>
      <dsp:spPr>
        <a:xfrm>
          <a:off x="8460219" y="2150551"/>
          <a:ext cx="1863139" cy="1273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3825" rIns="0" bIns="82550" numCol="1" spcCol="1270" anchor="b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 err="1"/>
            <a:t>Oppstart</a:t>
          </a:r>
          <a:r>
            <a:rPr lang="en-US" sz="1300" kern="1200" dirty="0"/>
            <a:t> Rom for </a:t>
          </a:r>
          <a:r>
            <a:rPr lang="en-US" sz="1300" kern="1200" dirty="0" err="1"/>
            <a:t>læring</a:t>
          </a:r>
          <a:r>
            <a:rPr lang="en-US" sz="1300" kern="1200" dirty="0"/>
            <a:t> (</a:t>
          </a:r>
          <a:r>
            <a:rPr lang="en-US" sz="1300" kern="1200" dirty="0" err="1"/>
            <a:t>oppgradering</a:t>
          </a:r>
          <a:r>
            <a:rPr lang="en-US" sz="1300" kern="1200" dirty="0"/>
            <a:t> av </a:t>
          </a:r>
          <a:r>
            <a:rPr lang="en-US" sz="1300" kern="1200" dirty="0" err="1"/>
            <a:t>seminarrom</a:t>
          </a:r>
          <a:r>
            <a:rPr lang="en-US" sz="1300" kern="1200" dirty="0"/>
            <a:t>) </a:t>
          </a:r>
        </a:p>
      </dsp:txBody>
      <dsp:txXfrm>
        <a:off x="8460219" y="2150551"/>
        <a:ext cx="1863139" cy="1273126"/>
      </dsp:txXfrm>
    </dsp:sp>
    <dsp:sp modelId="{9CB392C1-9AE1-415D-A3D7-85B4C7C3E0C6}">
      <dsp:nvSpPr>
        <dsp:cNvPr id="0" name=""/>
        <dsp:cNvSpPr/>
      </dsp:nvSpPr>
      <dsp:spPr>
        <a:xfrm>
          <a:off x="8460219" y="3423677"/>
          <a:ext cx="1863139" cy="447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7950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/>
            <a:t>August 2023</a:t>
          </a:r>
        </a:p>
      </dsp:txBody>
      <dsp:txXfrm>
        <a:off x="8460219" y="3423677"/>
        <a:ext cx="1863139" cy="447314"/>
      </dsp:txXfrm>
    </dsp:sp>
    <dsp:sp modelId="{5A6BFDFD-1980-4E58-B9A0-B68D0561A955}">
      <dsp:nvSpPr>
        <dsp:cNvPr id="0" name=""/>
        <dsp:cNvSpPr/>
      </dsp:nvSpPr>
      <dsp:spPr>
        <a:xfrm>
          <a:off x="8241911" y="2150551"/>
          <a:ext cx="0" cy="12731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F61D9F-7146-4D42-AC2D-8834673A4168}">
      <dsp:nvSpPr>
        <dsp:cNvPr id="0" name=""/>
        <dsp:cNvSpPr/>
      </dsp:nvSpPr>
      <dsp:spPr>
        <a:xfrm>
          <a:off x="8207966" y="2110293"/>
          <a:ext cx="78590" cy="805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60117A-9DBE-4D58-B966-06BD6F98E9B3}">
      <dsp:nvSpPr>
        <dsp:cNvPr id="0" name=""/>
        <dsp:cNvSpPr/>
      </dsp:nvSpPr>
      <dsp:spPr>
        <a:xfrm rot="8100000">
          <a:off x="9233387" y="499400"/>
          <a:ext cx="308733" cy="308733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6A5863-7012-44BD-8241-F298B637D44E}">
      <dsp:nvSpPr>
        <dsp:cNvPr id="0" name=""/>
        <dsp:cNvSpPr/>
      </dsp:nvSpPr>
      <dsp:spPr>
        <a:xfrm>
          <a:off x="9267685" y="533698"/>
          <a:ext cx="240138" cy="24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9DA8DA-472A-4F11-BBDB-F8E26CC502F4}">
      <dsp:nvSpPr>
        <dsp:cNvPr id="0" name=""/>
        <dsp:cNvSpPr/>
      </dsp:nvSpPr>
      <dsp:spPr>
        <a:xfrm>
          <a:off x="9606061" y="877425"/>
          <a:ext cx="1863139" cy="1273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2550" rIns="82550" bIns="123825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 err="1"/>
            <a:t>Evaluering</a:t>
          </a:r>
          <a:r>
            <a:rPr lang="en-US" sz="1300" kern="1200" dirty="0"/>
            <a:t> </a:t>
          </a:r>
          <a:r>
            <a:rPr lang="en-US" sz="1300" kern="1200" dirty="0" err="1"/>
            <a:t>og</a:t>
          </a:r>
          <a:r>
            <a:rPr lang="en-US" sz="1300" kern="1200" dirty="0"/>
            <a:t> </a:t>
          </a:r>
          <a:r>
            <a:rPr lang="en-US" sz="1300" kern="1200" dirty="0" err="1"/>
            <a:t>dimensjonering</a:t>
          </a:r>
          <a:endParaRPr lang="en-US" sz="1300" kern="1200" dirty="0"/>
        </a:p>
      </dsp:txBody>
      <dsp:txXfrm>
        <a:off x="9606061" y="877425"/>
        <a:ext cx="1863139" cy="1273126"/>
      </dsp:txXfrm>
    </dsp:sp>
    <dsp:sp modelId="{A28D79A3-22A5-4B87-9855-8D1491FCB71B}">
      <dsp:nvSpPr>
        <dsp:cNvPr id="0" name=""/>
        <dsp:cNvSpPr/>
      </dsp:nvSpPr>
      <dsp:spPr>
        <a:xfrm>
          <a:off x="9606061" y="430110"/>
          <a:ext cx="1863139" cy="447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07950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kern="1200" dirty="0" err="1"/>
            <a:t>Desember</a:t>
          </a:r>
          <a:r>
            <a:rPr lang="en-US" sz="1700" kern="1200" dirty="0"/>
            <a:t> 2023</a:t>
          </a:r>
        </a:p>
      </dsp:txBody>
      <dsp:txXfrm>
        <a:off x="9606061" y="430110"/>
        <a:ext cx="1863139" cy="447314"/>
      </dsp:txXfrm>
    </dsp:sp>
    <dsp:sp modelId="{BB1FC865-BC56-4E8C-BEBD-CDBAC245FB04}">
      <dsp:nvSpPr>
        <dsp:cNvPr id="0" name=""/>
        <dsp:cNvSpPr/>
      </dsp:nvSpPr>
      <dsp:spPr>
        <a:xfrm>
          <a:off x="9387754" y="877425"/>
          <a:ext cx="0" cy="1273126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BBD4E2-E4E5-4204-A0CE-71D36BE3EEF3}">
      <dsp:nvSpPr>
        <dsp:cNvPr id="0" name=""/>
        <dsp:cNvSpPr/>
      </dsp:nvSpPr>
      <dsp:spPr>
        <a:xfrm>
          <a:off x="9353808" y="2110293"/>
          <a:ext cx="78590" cy="8051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1">
  <dgm:title val=""/>
  <dgm:desc val=""/>
  <dgm:catLst>
    <dgm:cat type="relationship" pri="25000"/>
    <dgm:cat type="convert" pri="2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equ" val="0">
            <dgm:constrLst/>
          </dgm:if>
          <dgm:if name="Name4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r" for="ch" forName="line1" refType="l" refFor="ch" refForName="text1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5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4432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6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86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717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7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29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662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25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r" for="ch" forName="text4" refType="w"/>
              <dgm:constr type="t" for="ch" forName="text4" refType="b" refFor="ch" refForName="text3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852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8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r" for="ch" forName="text1" refType="w"/>
              <dgm:constr type="ctrY" for="ch" forName="text1" refType="h" fact="0.13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r" for="ch" forName="text2" refType="w"/>
              <dgm:constr type="ctrY" for="ch" forName="text2" refType="h" fact="0.27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498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r" for="ch" forName="text3" refType="w"/>
              <dgm:constr type="ctrY" for="ch" forName="text3" refType="h" fact="0.41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394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r" for="ch" forName="text4" refType="w"/>
              <dgm:constr type="ctrY" for="ch" forName="text4" refType="h" fact="0.547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46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r" for="ch" forName="text5" refType="w"/>
              <dgm:constr type="ctrY" for="ch" forName="text5" refType="h" fact="0.68"/>
              <dgm:constr type="l" for="ch" forName="line5" refType="w" fact="0.625"/>
              <dgm:constr type="ctrY" for="ch" forName="line5" refType="ctrY" refFor="ch" refForName="text5"/>
              <dgm:constr type="w" for="ch" forName="line5" refType="w" fact="0.075"/>
              <dgm:constr type="h" for="ch" forName="line5"/>
              <dgm:constr type="l" for="ch" forName="d5" refType="w" fact="0.49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9"/>
        </dgm:choose>
      </dgm:if>
      <dgm:else name="Name10">
        <dgm:choose name="Name11">
          <dgm:if name="Name12" axis="ch" ptType="node" func="cnt" op="equ" val="0">
            <dgm:constrLst/>
          </dgm:if>
          <dgm:if name="Name13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14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5567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15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14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282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16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0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337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74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l" for="ch" forName="text4"/>
              <dgm:constr type="t" for="ch" forName="text4" refType="b" refFor="ch" refForName="text3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147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17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l" for="ch" forName="text1"/>
              <dgm:constr type="ctrY" for="ch" forName="text1" refType="h" fact="0.13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l" for="ch" forName="text2"/>
              <dgm:constr type="ctrY" for="ch" forName="text2" refType="h" fact="0.27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502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l" for="ch" forName="text3"/>
              <dgm:constr type="ctrY" for="ch" forName="text3" refType="h" fact="0.41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606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l" for="ch" forName="text4"/>
              <dgm:constr type="ctrY" for="ch" forName="text4" refType="h" fact="0.547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54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l" for="ch" forName="text5"/>
              <dgm:constr type="ctrY" for="ch" forName="text5" refType="h" fact="0.68"/>
              <dgm:constr type="l" for="ch" forName="line5" refType="r" refFor="ch" refForName="text5"/>
              <dgm:constr type="ctrY" for="ch" forName="line5" refType="ctrY" refFor="ch" refForName="text5"/>
              <dgm:constr type="r" for="ch" forName="line5" refType="w" fact="0.375"/>
              <dgm:constr type="h" for="ch" forName="line5"/>
              <dgm:constr type="r" for="ch" forName="d5" refType="w" fact="0.50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18"/>
        </dgm:choose>
      </dgm:else>
    </dgm:choose>
    <dgm:ruleLst/>
    <dgm:forEach name="Name19" axis="ch" ptType="node" cnt="1">
      <dgm:layoutNode name="circle1" styleLbl="l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text1" styleLbl="revTx">
        <dgm:varLst>
          <dgm:bulletEnabled val="1"/>
        </dgm:varLst>
        <dgm:choose name="Name20">
          <dgm:if name="Name21" func="var" arg="dir" op="equ" val="norm">
            <dgm:choose name="Name22">
              <dgm:if name="Name2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4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25">
            <dgm:choose name="Name26">
              <dgm:if name="Name2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8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29">
          <dgm:if name="Name30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31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1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1" styleLbl="callout">
        <dgm:alg type="sp"/>
        <dgm:choose name="Name32">
          <dgm:if name="Name33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34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35" axis="ch" ptType="node" st="2" cnt="1">
      <dgm:layoutNode name="circle2" styleLbl="lnNode1">
        <dgm:alg type="sp"/>
        <dgm:shape xmlns:r="http://schemas.openxmlformats.org/officeDocument/2006/relationships" type="ellipse" r:blip="" zOrderOff="-5">
          <dgm:adjLst/>
        </dgm:shape>
        <dgm:presOf/>
        <dgm:constrLst/>
        <dgm:ruleLst/>
      </dgm:layoutNode>
      <dgm:layoutNode name="text2" styleLbl="revTx">
        <dgm:varLst>
          <dgm:bulletEnabled val="1"/>
        </dgm:varLst>
        <dgm:choose name="Name36">
          <dgm:if name="Name37" func="var" arg="dir" op="equ" val="norm">
            <dgm:choose name="Name38">
              <dgm:if name="Name3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0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41">
            <dgm:choose name="Name42">
              <dgm:if name="Name4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4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45">
          <dgm:if name="Name46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47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2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2" styleLbl="callout">
        <dgm:alg type="sp"/>
        <dgm:choose name="Name48">
          <dgm:if name="Name49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50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51" axis="ch" ptType="node" st="3" cnt="1">
      <dgm:layoutNode name="circle3" styleLbl="lnNode1">
        <dgm:alg type="sp"/>
        <dgm:shape xmlns:r="http://schemas.openxmlformats.org/officeDocument/2006/relationships" type="ellipse" r:blip="" zOrderOff="-10">
          <dgm:adjLst/>
        </dgm:shape>
        <dgm:presOf/>
        <dgm:constrLst/>
        <dgm:ruleLst/>
      </dgm:layoutNode>
      <dgm:layoutNode name="text3" styleLbl="revTx">
        <dgm:varLst>
          <dgm:bulletEnabled val="1"/>
        </dgm:varLst>
        <dgm:choose name="Name52">
          <dgm:if name="Name53" func="var" arg="dir" op="equ" val="norm">
            <dgm:choose name="Name54">
              <dgm:if name="Name5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56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57">
            <dgm:choose name="Name58">
              <dgm:if name="Name5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60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61">
          <dgm:if name="Name62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63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3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3" styleLbl="callout">
        <dgm:alg type="sp"/>
        <dgm:choose name="Name64">
          <dgm:if name="Name65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66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67" axis="ch" ptType="node" st="4" cnt="1">
      <dgm:layoutNode name="circle4" styleLbl="lnNode1">
        <dgm:alg type="sp"/>
        <dgm:shape xmlns:r="http://schemas.openxmlformats.org/officeDocument/2006/relationships" type="ellipse" r:blip="" zOrderOff="-15">
          <dgm:adjLst/>
        </dgm:shape>
        <dgm:presOf/>
        <dgm:constrLst/>
        <dgm:ruleLst/>
      </dgm:layoutNode>
      <dgm:layoutNode name="text4" styleLbl="revTx">
        <dgm:varLst>
          <dgm:bulletEnabled val="1"/>
        </dgm:varLst>
        <dgm:choose name="Name68">
          <dgm:if name="Name69" func="var" arg="dir" op="equ" val="norm">
            <dgm:choose name="Name70">
              <dgm:if name="Name7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2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73">
            <dgm:choose name="Name74">
              <dgm:if name="Name7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6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77">
          <dgm:if name="Name78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79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4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4" styleLbl="callout">
        <dgm:alg type="sp"/>
        <dgm:choose name="Name80">
          <dgm:if name="Name81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82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83" axis="ch" ptType="node" st="5" cnt="1">
      <dgm:layoutNode name="circle5" styleLbl="lnNode1">
        <dgm:alg type="sp"/>
        <dgm:shape xmlns:r="http://schemas.openxmlformats.org/officeDocument/2006/relationships" type="ellipse" r:blip="" zOrderOff="-20">
          <dgm:adjLst/>
        </dgm:shape>
        <dgm:presOf/>
        <dgm:constrLst/>
        <dgm:ruleLst/>
      </dgm:layoutNode>
      <dgm:layoutNode name="text5" styleLbl="revTx">
        <dgm:varLst>
          <dgm:bulletEnabled val="1"/>
        </dgm:varLst>
        <dgm:choose name="Name84">
          <dgm:if name="Name85" func="var" arg="dir" op="equ" val="norm">
            <dgm:choose name="Name86">
              <dgm:if name="Name8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88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89">
            <dgm:choose name="Name90">
              <dgm:if name="Name9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92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93">
          <dgm:if name="Name94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95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5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5" styleLbl="callout">
        <dgm:alg type="sp"/>
        <dgm:choose name="Name96">
          <dgm:if name="Name97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98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17C4C5-B47B-4575-8196-D90F0A5164A2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5314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8187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1776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357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034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D2B5D-A654-44DF-9EBA-2990F2297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6CBD53-1383-4435-AD8D-1E3DEC5BAF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E46B75-85A2-426C-A055-9E33F559D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64A9AE-2D99-461F-836E-9A13FF5A344A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.03.202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3BE779-16CC-4A69-BEB2-F9665A750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8D30D6-89A8-45D3-9EF3-FCC04D74A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2B60B5-DAB3-41D6-A254-D8961837B81D}" type="slidenum">
              <a:rPr kumimoji="0" lang="nb-NO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6429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textbox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47832A-C200-4F7E-AF3E-D40604841FC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8FA56-4D7C-4979-BB98-B74CBD5F52E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B7FE76BD-1D32-4FE8-AC91-B195070748A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577BCF49-E370-4191-A9D3-5E55520BEC0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64D7346C-42A8-4BF6-BD31-3EF03D696B3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1664CE25-C511-4C72-86B2-CD04C60CDC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3" name="addin_image" hidden="1">
            <a:extLst>
              <a:ext uri="{FF2B5EF4-FFF2-40B4-BE49-F238E27FC236}">
                <a16:creationId xmlns:a16="http://schemas.microsoft.com/office/drawing/2014/main" id="{1FDD2AD4-3CBB-4718-8708-A4ABD22FEE4F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4" name="addin_grouplist" hidden="1">
            <a:extLst>
              <a:ext uri="{FF2B5EF4-FFF2-40B4-BE49-F238E27FC236}">
                <a16:creationId xmlns:a16="http://schemas.microsoft.com/office/drawing/2014/main" id="{89CA383D-0F6C-4656-8C17-CCCA7960CDC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574B200B-554A-44F6-A5CF-7E5E17C8547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E9F05AAF-95F2-4DEB-9E39-9C52A1AA2ECD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A0564F8C-C50F-400D-BD2B-ED1C4763FC27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CEC6402-B72B-43A7-AB55-858B3D9C7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3D099F6-7C77-4DBE-8B36-12B42A9CBF9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884A91-9223-4B5D-BCF2-07CADE2A90D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4" y="1757499"/>
            <a:ext cx="11471910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4764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A48002-B76A-46E3-8BE0-D049E47E95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94364C-3806-46C1-A338-4DC0E080C4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BC7699-4675-485F-8136-52D25D303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126F3E-992A-453F-A656-CB11491DE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C635FD-77CF-4C43-A1F8-D0023CBAD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73395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D2B5D-A654-44DF-9EBA-2990F2297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6CBD53-1383-4435-AD8D-1E3DEC5BAF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E46B75-85A2-426C-A055-9E33F559D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3BE779-16CC-4A69-BEB2-F9665A750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8D30D6-89A8-45D3-9EF3-FCC04D74A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38859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DBFCE8-119A-441C-9031-6A5DAC90F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18302C-B029-4800-A2AC-C6055931C2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4A756A-2BE0-4E02-B4F3-F8F5D3C1E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F52855-709C-4C48-BE8E-29C858C0F9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7461A0-2BD0-433C-9AC0-459839E00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39389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A6988E-A883-4442-9E5A-8A38B4C54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8B1B0-49B8-4B7D-9A1B-C8AF4325A0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33DFBD-D2F3-4A0E-B581-7997350C1F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8C9FE5-2950-45A8-BE5B-7F9BEEC5A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113404-4741-4079-A5FA-98E1A8336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755925-E4F7-47C6-8918-D458EB8E2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803020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B4F288-4568-4530-AEDE-A5788FC13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7B55C3-ED49-4F9B-9083-30698C6558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864BE-0BD9-45B2-B169-2DF1A67D56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0E7DBC-072E-456B-BF2A-A6A3D988A7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CEAEE6C-5A32-4A53-B288-FC4A4D0A5BC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53168C6-C611-45C7-9D79-EC0F9F50D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9511E-9B35-45F5-91FC-FC9E2A154C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4D860E-9FC7-488C-A4C7-F58EF33BF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59073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FDBAE-2582-4EA7-B825-053E232E5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A8E8A4-34E0-4F83-817A-CA9D3F6D7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AB0175-431D-41D3-A12A-09E8F0612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DA9A50-AD69-4F4F-B0AD-583215A39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21252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C20BC4-1CEB-42F7-8CB5-7F41DCE4CB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205FA-AB8E-414A-811B-67188BB39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692F61-9FFC-49BA-8989-01DEA013B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77247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2482F8-7A43-4301-898B-DA06D37F3B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409B33-AA33-4805-AF7B-A9AE97AC3B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AC054-8423-4EB4-ACE5-E0CA40D3C7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23D843-D1A3-484F-8E80-E3895D027B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1C2ED4-EE4A-4AF8-9EC6-F95D586A0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9C0D10-A09B-450F-A01C-3B26E25A5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21334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A8E0E4-62D8-4643-82C4-8F1FC7624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112FDB2-81DF-42C5-BC07-921D1DA8E2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58C3D8-AA15-4B94-908A-1AA99B9D9D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CF1BF1-9B5C-4182-BA4D-3B776D853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2DB666-AD51-4732-83B8-4AD196AEF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3E1C6B-8D2A-4DB7-814B-1C1862D71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378079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8BAD8-A516-4F2B-BEC1-480A6B7A1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FE8B47-524E-4772-89B3-65044468C6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68069F-079F-4802-9A61-9D9F9A51F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B8C096-E499-4FD2-A57B-5DDDCB48F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7FCD28-8496-4BAB-9C64-8CB070736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50612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0E8AD2C-05BB-4CA2-907F-C968CD2CE8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DF9FB0F-E00E-482B-9E56-138B18D93B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059F6-1979-40D9-ABF2-A4B218D127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FEF79E-2DD4-432D-B52B-B3F3B87F4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99937D-AB59-4CAE-8ED5-3018FBE304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162726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640076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39" imgH="343" progId="TCLayout.ActiveDocument.1">
                  <p:embed/>
                </p:oleObj>
              </mc:Choice>
              <mc:Fallback>
                <p:oleObj name="think-cell Slide" r:id="rId32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43" r:id="rId28"/>
    <p:sldLayoutId id="2147483744" r:id="rId2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7367C9-F9D8-428B-9C12-1D0F30B98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ABEE2B-2CB5-442D-B34B-1491881C2A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001B28-51AE-4643-92E5-AF9427330B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64A9AE-2D99-461F-836E-9A13FF5A344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EF220F-B884-480E-A75F-CA489C1B00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43E88B-C848-4C49-9193-830B1630EB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2B60B5-DAB3-41D6-A254-D8961837B81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8708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v.uio.no/eilin/ressursbank/vurderingsformer(1).html" TargetMode="Externa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13" Type="http://schemas.openxmlformats.org/officeDocument/2006/relationships/image" Target="../media/image38.jpg"/><Relationship Id="rId18" Type="http://schemas.openxmlformats.org/officeDocument/2006/relationships/image" Target="../media/image43.jpg"/><Relationship Id="rId26" Type="http://schemas.openxmlformats.org/officeDocument/2006/relationships/image" Target="../media/image25.png"/><Relationship Id="rId3" Type="http://schemas.openxmlformats.org/officeDocument/2006/relationships/image" Target="../media/image28.jpg"/><Relationship Id="rId21" Type="http://schemas.openxmlformats.org/officeDocument/2006/relationships/image" Target="../media/image46.jpg"/><Relationship Id="rId7" Type="http://schemas.openxmlformats.org/officeDocument/2006/relationships/image" Target="../media/image32.jpeg"/><Relationship Id="rId12" Type="http://schemas.openxmlformats.org/officeDocument/2006/relationships/image" Target="../media/image37.jpg"/><Relationship Id="rId17" Type="http://schemas.openxmlformats.org/officeDocument/2006/relationships/image" Target="../media/image42.jpg"/><Relationship Id="rId25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1.png"/><Relationship Id="rId20" Type="http://schemas.openxmlformats.org/officeDocument/2006/relationships/image" Target="../media/image45.jpe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1.jpg"/><Relationship Id="rId11" Type="http://schemas.openxmlformats.org/officeDocument/2006/relationships/image" Target="../media/image36.jpg"/><Relationship Id="rId24" Type="http://schemas.openxmlformats.org/officeDocument/2006/relationships/image" Target="../media/image23.png"/><Relationship Id="rId5" Type="http://schemas.openxmlformats.org/officeDocument/2006/relationships/image" Target="../media/image30.jpg"/><Relationship Id="rId15" Type="http://schemas.openxmlformats.org/officeDocument/2006/relationships/image" Target="../media/image40.jpeg"/><Relationship Id="rId23" Type="http://schemas.openxmlformats.org/officeDocument/2006/relationships/image" Target="../media/image22.png"/><Relationship Id="rId28" Type="http://schemas.openxmlformats.org/officeDocument/2006/relationships/image" Target="../media/image27.png"/><Relationship Id="rId10" Type="http://schemas.openxmlformats.org/officeDocument/2006/relationships/image" Target="../media/image35.png"/><Relationship Id="rId19" Type="http://schemas.openxmlformats.org/officeDocument/2006/relationships/image" Target="../media/image44.jpeg"/><Relationship Id="rId4" Type="http://schemas.openxmlformats.org/officeDocument/2006/relationships/image" Target="../media/image29.jpg"/><Relationship Id="rId9" Type="http://schemas.openxmlformats.org/officeDocument/2006/relationships/image" Target="../media/image34.jpg"/><Relationship Id="rId14" Type="http://schemas.openxmlformats.org/officeDocument/2006/relationships/image" Target="../media/image39.jpeg"/><Relationship Id="rId22" Type="http://schemas.openxmlformats.org/officeDocument/2006/relationships/image" Target="../media/image47.jpg"/><Relationship Id="rId27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34EB2A91-EBB4-652F-D1BD-45A444993674}"/>
              </a:ext>
            </a:extLst>
          </p:cNvPr>
          <p:cNvGrpSpPr/>
          <p:nvPr/>
        </p:nvGrpSpPr>
        <p:grpSpPr>
          <a:xfrm>
            <a:off x="7620000" y="-273"/>
            <a:ext cx="4572000" cy="6858273"/>
            <a:chOff x="7620000" y="-273"/>
            <a:chExt cx="4572000" cy="685827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EA49866-DBB2-5D54-3CA8-278734D9AD11}"/>
                </a:ext>
              </a:extLst>
            </p:cNvPr>
            <p:cNvGrpSpPr/>
            <p:nvPr/>
          </p:nvGrpSpPr>
          <p:grpSpPr>
            <a:xfrm>
              <a:off x="7620000" y="-273"/>
              <a:ext cx="4572000" cy="6858273"/>
              <a:chOff x="2722728" y="-225"/>
              <a:chExt cx="3765884" cy="5649051"/>
            </a:xfrm>
            <a:solidFill>
              <a:srgbClr val="EAF9F3"/>
            </a:solidFill>
          </p:grpSpPr>
          <p:pic>
            <p:nvPicPr>
              <p:cNvPr id="21" name="Picture 20" descr="A blue and green arrow&#10;&#10;Description automatically generated">
                <a:extLst>
                  <a:ext uri="{FF2B5EF4-FFF2-40B4-BE49-F238E27FC236}">
                    <a16:creationId xmlns:a16="http://schemas.microsoft.com/office/drawing/2014/main" id="{EACBD4CA-AD28-8D5E-3175-4DF162E5C6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22728" y="1882942"/>
                <a:ext cx="1882942" cy="1882942"/>
              </a:xfrm>
              <a:prstGeom prst="rect">
                <a:avLst/>
              </a:prstGeom>
              <a:grpFill/>
            </p:spPr>
          </p:pic>
          <p:pic>
            <p:nvPicPr>
              <p:cNvPr id="22" name="Picture 21" descr="A green arrow pointing up to a white rectangle&#10;&#10;Description automatically generated">
                <a:extLst>
                  <a:ext uri="{FF2B5EF4-FFF2-40B4-BE49-F238E27FC236}">
                    <a16:creationId xmlns:a16="http://schemas.microsoft.com/office/drawing/2014/main" id="{16B40C27-DCA4-C349-2279-22B2F64354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05670" y="1882942"/>
                <a:ext cx="1882942" cy="1882942"/>
              </a:xfrm>
              <a:prstGeom prst="rect">
                <a:avLst/>
              </a:prstGeom>
              <a:grpFill/>
            </p:spPr>
          </p:pic>
          <p:pic>
            <p:nvPicPr>
              <p:cNvPr id="23" name="Picture 22" descr="A blue rectangle and green circles&#10;&#10;Description automatically generated">
                <a:extLst>
                  <a:ext uri="{FF2B5EF4-FFF2-40B4-BE49-F238E27FC236}">
                    <a16:creationId xmlns:a16="http://schemas.microsoft.com/office/drawing/2014/main" id="{4E9DD282-2219-E668-CFB7-7DAE5A78B8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05670" y="-225"/>
                <a:ext cx="1882942" cy="1882942"/>
              </a:xfrm>
              <a:prstGeom prst="rect">
                <a:avLst/>
              </a:prstGeom>
              <a:grpFill/>
            </p:spPr>
          </p:pic>
          <p:pic>
            <p:nvPicPr>
              <p:cNvPr id="24" name="Picture 23" descr="A blue and green stacked objects&#10;&#10;Description automatically generated">
                <a:extLst>
                  <a:ext uri="{FF2B5EF4-FFF2-40B4-BE49-F238E27FC236}">
                    <a16:creationId xmlns:a16="http://schemas.microsoft.com/office/drawing/2014/main" id="{BC3D0515-906E-C459-9349-9338B57283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05670" y="3765659"/>
                <a:ext cx="1882942" cy="1882942"/>
              </a:xfrm>
              <a:prstGeom prst="rect">
                <a:avLst/>
              </a:prstGeom>
              <a:grpFill/>
            </p:spPr>
          </p:pic>
          <p:pic>
            <p:nvPicPr>
              <p:cNvPr id="25" name="Picture 24" descr="A blue and green logo&#10;&#10;Description automatically generated">
                <a:extLst>
                  <a:ext uri="{FF2B5EF4-FFF2-40B4-BE49-F238E27FC236}">
                    <a16:creationId xmlns:a16="http://schemas.microsoft.com/office/drawing/2014/main" id="{EAE50CD5-A4BB-E417-4825-DCC67FFCFB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22728" y="3765884"/>
                <a:ext cx="1882942" cy="1882942"/>
              </a:xfrm>
              <a:prstGeom prst="rect">
                <a:avLst/>
              </a:prstGeom>
              <a:grpFill/>
            </p:spPr>
          </p:pic>
        </p:grpSp>
        <p:pic>
          <p:nvPicPr>
            <p:cNvPr id="20" name="Picture 19" descr="A blue and green logo&#10;&#10;Description automatically generated">
              <a:extLst>
                <a:ext uri="{FF2B5EF4-FFF2-40B4-BE49-F238E27FC236}">
                  <a16:creationId xmlns:a16="http://schemas.microsoft.com/office/drawing/2014/main" id="{03079494-5B04-1A58-E776-E1E6B73F4B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0000" y="0"/>
              <a:ext cx="2286000" cy="2286000"/>
            </a:xfrm>
            <a:prstGeom prst="rect">
              <a:avLst/>
            </a:prstGeom>
          </p:spPr>
        </p:pic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1F303F7-51EB-5677-204E-662F03CD40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EDCFE4-B893-9C67-BCAB-6BDA12E054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079207" y="5835435"/>
            <a:ext cx="1025436" cy="1025421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11F267-3524-F3C6-697A-1CD283A86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ra ildsjeler til miljø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77A6A70-06CB-2E00-D867-6E2CEC754A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Status for Læringsnettverket EILIN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4C9E667E-D764-5910-51B6-EAD6E12EC14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Siri Aamod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EC7378F-725B-CEE7-5A36-C20301B366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Koordinat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B1DAD4-7163-724E-E85C-42AAC654476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978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4DD7D51D-C99A-0027-D66F-23C5D3968869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B401F8-9FE0-7033-58C8-2A4648EE417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Pag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22E749-E4FE-33B4-984F-059FFEA1D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sz="2700" dirty="0"/>
              <a:t>Noen milepæler</a:t>
            </a:r>
          </a:p>
        </p:txBody>
      </p:sp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74DA2BB9-C347-186B-C164-A8B2AAA5C50B}"/>
              </a:ext>
            </a:extLst>
          </p:cNvPr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2060601089"/>
              </p:ext>
            </p:extLst>
          </p:nvPr>
        </p:nvGraphicFramePr>
        <p:xfrm>
          <a:off x="393926" y="1483179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24244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3616A8-376F-C96C-F8E6-19262103B2C4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AB156A-02E1-92F4-0C6E-696BB4EF1769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fld id="{812B60B5-DAB3-41D6-A254-D8961837B81D}" type="slidenum">
              <a:rPr kumimoji="0" lang="nb-NO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t>11</a:t>
            </a:fld>
            <a:endParaRPr kumimoji="0" lang="nb-NO" sz="7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D928E86-4467-B895-B386-04B3E07CC1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Tematiske områder 2021-2023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8CB532E-BF0D-C393-5020-55A7208C2E40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249138" y="1023731"/>
            <a:ext cx="5693636" cy="5169755"/>
          </a:xfrm>
          <a:solidFill>
            <a:srgbClr val="86A4F7"/>
          </a:solidFill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sz="2800" dirty="0">
                <a:solidFill>
                  <a:srgbClr val="000000"/>
                </a:solidFill>
              </a:rPr>
              <a:t>Video som pedagogisk verktøy i undervisning</a:t>
            </a:r>
          </a:p>
          <a:p>
            <a:pPr>
              <a:buClr>
                <a:srgbClr val="000000"/>
              </a:buClr>
            </a:pPr>
            <a:r>
              <a:rPr lang="nb-NO" sz="2800" dirty="0">
                <a:solidFill>
                  <a:srgbClr val="000000"/>
                </a:solidFill>
              </a:rPr>
              <a:t>Universell utforming</a:t>
            </a:r>
          </a:p>
          <a:p>
            <a:pPr>
              <a:buClr>
                <a:srgbClr val="000000"/>
              </a:buClr>
            </a:pPr>
            <a:r>
              <a:rPr lang="nb-NO" sz="2800" dirty="0">
                <a:solidFill>
                  <a:srgbClr val="000000"/>
                </a:solidFill>
              </a:rPr>
              <a:t>Canvas: fra administrering av læring til støtte for læring</a:t>
            </a:r>
          </a:p>
          <a:p>
            <a:pPr>
              <a:buClr>
                <a:srgbClr val="000000"/>
              </a:buClr>
            </a:pPr>
            <a:r>
              <a:rPr lang="nb-NO" sz="2800" dirty="0">
                <a:solidFill>
                  <a:srgbClr val="000000"/>
                </a:solidFill>
              </a:rPr>
              <a:t>Introduksjon til undervisning for </a:t>
            </a:r>
            <a:r>
              <a:rPr lang="nb-NO" sz="2800" dirty="0" err="1">
                <a:solidFill>
                  <a:srgbClr val="000000"/>
                </a:solidFill>
              </a:rPr>
              <a:t>Ph.D.</a:t>
            </a:r>
            <a:r>
              <a:rPr lang="nb-NO" sz="2800" dirty="0">
                <a:solidFill>
                  <a:srgbClr val="000000"/>
                </a:solidFill>
              </a:rPr>
              <a:t>-kandidater</a:t>
            </a:r>
          </a:p>
          <a:p>
            <a:pPr>
              <a:buClr>
                <a:srgbClr val="000000"/>
              </a:buClr>
            </a:pPr>
            <a:r>
              <a:rPr lang="nb-NO" sz="2800" dirty="0">
                <a:solidFill>
                  <a:srgbClr val="000000"/>
                </a:solidFill>
              </a:rPr>
              <a:t>Opplæring for studentassistenter</a:t>
            </a:r>
          </a:p>
          <a:p>
            <a:pPr>
              <a:buClr>
                <a:srgbClr val="000000"/>
              </a:buClr>
            </a:pPr>
            <a:endParaRPr lang="nb-NO" sz="2800" dirty="0">
              <a:solidFill>
                <a:srgbClr val="000000"/>
              </a:solidFill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8B5B3CD-C818-E08E-ACFE-454BC109464F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231834" y="1023731"/>
            <a:ext cx="5693636" cy="5169755"/>
          </a:xfrm>
          <a:solidFill>
            <a:srgbClr val="86A4F7"/>
          </a:solidFill>
        </p:spPr>
        <p:txBody>
          <a:bodyPr/>
          <a:lstStyle/>
          <a:p>
            <a:pPr algn="l" fontAlgn="base">
              <a:buClr>
                <a:srgbClr val="000000"/>
              </a:buClr>
            </a:pPr>
            <a:r>
              <a:rPr lang="nb-NO" sz="2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Vurderingsformer </a:t>
            </a:r>
          </a:p>
          <a:p>
            <a:pPr algn="l" fontAlgn="base">
              <a:buClr>
                <a:srgbClr val="000000"/>
              </a:buClr>
            </a:pPr>
            <a:r>
              <a:rPr lang="nb-NO" sz="2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Kunstig intelligens i utdanning</a:t>
            </a:r>
          </a:p>
          <a:p>
            <a:pPr algn="l" fontAlgn="base">
              <a:buClr>
                <a:srgbClr val="000000"/>
              </a:buClr>
            </a:pPr>
            <a:r>
              <a:rPr lang="nb-NO" sz="2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Fremtidens seminarrom </a:t>
            </a:r>
          </a:p>
          <a:p>
            <a:pPr>
              <a:buClr>
                <a:srgbClr val="000000"/>
              </a:buClr>
            </a:pPr>
            <a:r>
              <a:rPr lang="nb-NO" sz="2800" dirty="0">
                <a:solidFill>
                  <a:srgbClr val="000000"/>
                </a:solidFill>
                <a:latin typeface="Helvetica" panose="020B0604020202020204" pitchFamily="34" charset="0"/>
              </a:rPr>
              <a:t>Universell utforming </a:t>
            </a:r>
          </a:p>
          <a:p>
            <a:pPr>
              <a:buClr>
                <a:srgbClr val="000000"/>
              </a:buClr>
            </a:pPr>
            <a:r>
              <a:rPr lang="nb-NO" sz="2800" dirty="0" err="1">
                <a:solidFill>
                  <a:srgbClr val="000000"/>
                </a:solidFill>
                <a:latin typeface="Helvetica" panose="020B0604020202020204" pitchFamily="34" charset="0"/>
              </a:rPr>
              <a:t>Førsteårsopplevelsen</a:t>
            </a:r>
            <a:endParaRPr lang="nb-NO" sz="2800" dirty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marL="0" indent="0">
              <a:buClr>
                <a:srgbClr val="000000"/>
              </a:buClr>
              <a:buNone/>
            </a:pPr>
            <a:endParaRPr lang="nb-NO" sz="2800" dirty="0">
              <a:solidFill>
                <a:srgbClr val="000000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EF5D6-C781-AE65-69E0-E28960E3F3D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6264275"/>
            <a:ext cx="2743200" cy="365125"/>
          </a:xfr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fld id="{11612509-CB7C-40BA-B474-6E56EF87C334}" type="datetime1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t>14.03.202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5008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2DF297-CAB2-061B-E0FE-7436D8534C8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73EB37-952A-CB4E-5920-6C99CE4709E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5E21AA-FEE3-C094-31F3-151798B70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ktiviteter pedagogisk kompetans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3485125-AAB9-64CA-2026-D47A231DF0D0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069521"/>
            <a:ext cx="11471910" cy="4989081"/>
          </a:xfrm>
        </p:spPr>
        <p:txBody>
          <a:bodyPr/>
          <a:lstStyle/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1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Workshop: Video </a:t>
            </a:r>
            <a:r>
              <a:rPr lang="nb-NO" sz="18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om pedagogisk verktøy (H22)</a:t>
            </a:r>
            <a:r>
              <a:rPr lang="nb-NO" sz="1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1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Etablert opplæringstilbud for studentassistenter: seminarledere og kollokviementorer (fra H22)</a:t>
            </a:r>
            <a:endParaRPr lang="nb-NO" sz="1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18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tablert undervisningskurs for </a:t>
            </a:r>
            <a:r>
              <a:rPr lang="nb-NO" sz="1800" dirty="0" err="1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hD</a:t>
            </a:r>
            <a:r>
              <a:rPr lang="nb-NO" sz="18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: pilotering H22, utvidet pilot V23 og H23, samarbeid med HF fra V2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18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Workshop: AI og eksamen for </a:t>
            </a:r>
            <a:r>
              <a:rPr lang="nb-NO" sz="18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emneansvarlige</a:t>
            </a:r>
            <a:r>
              <a:rPr lang="nb-NO" sz="1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og sensorer (V23)</a:t>
            </a:r>
            <a:endParaRPr lang="nb-NO" sz="1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1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Gjennomført </a:t>
            </a:r>
            <a:r>
              <a:rPr lang="nb-NO" sz="18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ørsteårsanalyse</a:t>
            </a:r>
            <a:r>
              <a:rPr lang="nb-NO" sz="1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H23</a:t>
            </a:r>
            <a:endParaRPr lang="nb-NO" sz="1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1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Bidrag til STV1550: opplæring/oppfølging LA og undervisningsbidrag i to seminarer</a:t>
            </a:r>
            <a:endParaRPr lang="nb-NO" sz="1800" dirty="0">
              <a:effectLst/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1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Kunnskapsbaserte ressurser</a:t>
            </a:r>
            <a:r>
              <a:rPr lang="nb-NO" sz="18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en-US" sz="1600" u="sng" dirty="0" err="1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Flervalgsoppgaver</a:t>
            </a:r>
            <a:endParaRPr lang="nb-NO" sz="1600" dirty="0"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en-US" sz="1600" u="sng" dirty="0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Alt du </a:t>
            </a:r>
            <a:r>
              <a:rPr lang="en-US" sz="1600" u="sng" dirty="0" err="1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må</a:t>
            </a:r>
            <a:r>
              <a:rPr lang="en-US" sz="1600" u="sng" dirty="0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600" u="sng" dirty="0" err="1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tatsvite</a:t>
            </a:r>
            <a:endParaRPr lang="nb-NO" sz="1600" dirty="0"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en-US" sz="1600" u="sng" dirty="0" err="1">
                <a:solidFill>
                  <a:srgbClr val="0563C1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  <a:hlinkClick r:id="rId2"/>
              </a:rPr>
              <a:t>Vurderingsformer</a:t>
            </a:r>
            <a:r>
              <a:rPr lang="en-US" sz="1600" u="sng" dirty="0">
                <a:solidFill>
                  <a:srgbClr val="0563C1"/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  <a:hlinkClick r:id="rId2"/>
              </a:rPr>
              <a:t> </a:t>
            </a:r>
            <a:endParaRPr lang="en-US" sz="1600" u="sng" dirty="0">
              <a:solidFill>
                <a:srgbClr val="0563C1"/>
              </a:solidFill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en-US" sz="1600" u="sng" dirty="0" err="1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Praksisemner</a:t>
            </a:r>
            <a:r>
              <a:rPr lang="en-US" sz="1600" u="sng" dirty="0">
                <a:solidFill>
                  <a:srgbClr val="0563C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en-US" sz="1600" dirty="0" err="1"/>
              <a:t>Seminarlederressurs</a:t>
            </a:r>
            <a:r>
              <a:rPr lang="en-US" sz="1600" dirty="0"/>
              <a:t> (under </a:t>
            </a:r>
            <a:r>
              <a:rPr lang="en-US" sz="1600" dirty="0" err="1"/>
              <a:t>arbeid</a:t>
            </a:r>
            <a:r>
              <a:rPr lang="en-US" sz="1600" dirty="0"/>
              <a:t>)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nb-NO" sz="16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Rapport om digitale kompetansemapper 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nb-NO" sz="16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Øvingsressurs i matematikk (under arbeid)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9581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84B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2DF297-CAB2-061B-E0FE-7436D8534C8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73EB37-952A-CB4E-5920-6C99CE4709E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5E21AA-FEE3-C094-31F3-151798B70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35331"/>
            <a:ext cx="11471910" cy="542658"/>
          </a:xfrm>
        </p:spPr>
        <p:txBody>
          <a:bodyPr/>
          <a:lstStyle/>
          <a:p>
            <a:r>
              <a:rPr lang="nb-NO" dirty="0">
                <a:solidFill>
                  <a:schemeClr val="bg1"/>
                </a:solidFill>
              </a:rPr>
              <a:t>Aktiviteter teknisk kompetans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3485125-AAB9-64CA-2026-D47A231DF0D0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413711"/>
            <a:ext cx="11471910" cy="4620177"/>
          </a:xfrm>
        </p:spPr>
        <p:txBody>
          <a:bodyPr/>
          <a:lstStyle/>
          <a:p>
            <a:r>
              <a:rPr lang="nb-NO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tablert førstelinjetilbud – løpende kvalitetsutvikling</a:t>
            </a:r>
          </a:p>
          <a:p>
            <a:r>
              <a:rPr lang="nb-NO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tablert </a:t>
            </a:r>
            <a:r>
              <a:rPr lang="nb-NO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tøtte til universell utforming (SK-ITU midler) gjennom førstelinja</a:t>
            </a:r>
          </a:p>
          <a:p>
            <a:r>
              <a:rPr lang="nb-NO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nfrastruktur: </a:t>
            </a:r>
          </a:p>
          <a:p>
            <a:pPr lvl="1"/>
            <a:r>
              <a:rPr lang="nb-NO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Oppgradering av auditorium</a:t>
            </a:r>
          </a:p>
          <a:p>
            <a:pPr lvl="1"/>
            <a:r>
              <a:rPr lang="nb-NO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Utredning av medierom i samarbeid med kommunikasjonsseksjonen (pågående)</a:t>
            </a:r>
          </a:p>
          <a:p>
            <a:pPr lvl="1"/>
            <a:r>
              <a:rPr lang="nb-NO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om for læring: oppgradering av fakultetets seminarrom (pågående)</a:t>
            </a:r>
          </a:p>
          <a:p>
            <a:r>
              <a:rPr lang="nb-NO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Utrulling av </a:t>
            </a:r>
            <a:r>
              <a:rPr lang="nb-NO" dirty="0" err="1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anopto</a:t>
            </a:r>
            <a:r>
              <a:rPr lang="nb-NO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gjennom førstelinja</a:t>
            </a:r>
          </a:p>
          <a:p>
            <a:r>
              <a:rPr lang="nb-NO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essurser/veiledninger</a:t>
            </a:r>
          </a:p>
          <a:p>
            <a:r>
              <a:rPr lang="nb-NO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Overtatt rollen som fakultetskoordinator for Canvas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endParaRPr lang="nb-NO" sz="2000" dirty="0">
              <a:solidFill>
                <a:schemeClr val="bg1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endParaRPr lang="nb-NO" sz="1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07517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A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2DF297-CAB2-061B-E0FE-7436D8534C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73EB37-952A-CB4E-5920-6C99CE470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5E21AA-FEE3-C094-31F3-151798B70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ktiviteter </a:t>
            </a:r>
            <a:r>
              <a:rPr lang="nb-NO" dirty="0" err="1"/>
              <a:t>bestillerkompetanse</a:t>
            </a:r>
            <a:endParaRPr lang="nb-N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4C0BB8D-D08E-BA7E-7214-B25E670510BD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113295"/>
            <a:ext cx="11471910" cy="4631411"/>
          </a:xfrm>
        </p:spPr>
        <p:txBody>
          <a:bodyPr/>
          <a:lstStyle/>
          <a:p>
            <a:pPr marL="342900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nb-NO" sz="28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tablert rutine for bruk av LINK</a:t>
            </a:r>
          </a:p>
          <a:p>
            <a:pPr marL="342900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nb-NO" sz="28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Faste kontaktpersoner i LINK og IT-avdelingen</a:t>
            </a:r>
          </a:p>
          <a:p>
            <a:pPr marL="342900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nb-NO" sz="28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amarbeid med LINK i ulike prosjekter</a:t>
            </a:r>
          </a:p>
          <a:p>
            <a:pPr marL="342900" indent="-34290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8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Pågående</a:t>
            </a:r>
            <a:r>
              <a:rPr lang="en-US" sz="2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arbeid</a:t>
            </a:r>
            <a:r>
              <a:rPr lang="en-US" sz="2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for </a:t>
            </a:r>
            <a:r>
              <a:rPr lang="en-US" sz="28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amarbeid</a:t>
            </a:r>
            <a:r>
              <a:rPr lang="en-US" sz="2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med LINK om det </a:t>
            </a:r>
            <a:r>
              <a:rPr lang="en-US" sz="28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universitetspedagogiske</a:t>
            </a:r>
            <a:r>
              <a:rPr lang="en-US" sz="2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kurstilbudet</a:t>
            </a:r>
            <a:endParaRPr lang="en-US" sz="2800" dirty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spcAft>
                <a:spcPts val="800"/>
              </a:spcAft>
            </a:pPr>
            <a:r>
              <a:rPr lang="en-US" sz="2400" dirty="0" err="1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Tydelige</a:t>
            </a:r>
            <a:r>
              <a:rPr lang="en-US" sz="24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tilbakemeldinger</a:t>
            </a:r>
            <a:r>
              <a:rPr lang="en-US" sz="24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i</a:t>
            </a:r>
            <a:r>
              <a:rPr lang="en-US" sz="24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LINKs </a:t>
            </a:r>
            <a:r>
              <a:rPr lang="en-US" sz="2400" dirty="0" err="1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revisjonsarbeid</a:t>
            </a:r>
            <a:endParaRPr lang="en-US" sz="2400" dirty="0"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spcAft>
                <a:spcPts val="800"/>
              </a:spcAft>
            </a:pPr>
            <a:r>
              <a:rPr lang="en-US" sz="24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ondere</a:t>
            </a:r>
            <a:r>
              <a:rPr lang="en-US" sz="2400" dirty="0" err="1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r</a:t>
            </a:r>
            <a:r>
              <a:rPr lang="en-US" sz="24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muligheter</a:t>
            </a:r>
            <a:r>
              <a:rPr lang="en-US" sz="24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for uniped-</a:t>
            </a:r>
            <a:r>
              <a:rPr lang="en-US" sz="2400" dirty="0" err="1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uttelling</a:t>
            </a:r>
            <a:r>
              <a:rPr lang="en-US" sz="24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for </a:t>
            </a:r>
            <a:r>
              <a:rPr lang="en-US" sz="2400" dirty="0" err="1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undervisningskurs</a:t>
            </a:r>
            <a:r>
              <a:rPr lang="en-US" sz="24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PhD</a:t>
            </a:r>
          </a:p>
          <a:p>
            <a:pPr lvl="1">
              <a:spcAft>
                <a:spcPts val="800"/>
              </a:spcAft>
            </a:pPr>
            <a:r>
              <a:rPr lang="en-US" sz="24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Tettere</a:t>
            </a:r>
            <a:r>
              <a:rPr lang="en-US" sz="24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kobling</a:t>
            </a:r>
            <a:r>
              <a:rPr lang="en-US" sz="24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til</a:t>
            </a:r>
            <a:r>
              <a:rPr lang="en-US" sz="24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50</a:t>
            </a:r>
            <a:r>
              <a:rPr lang="en-US" sz="24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-timers </a:t>
            </a:r>
            <a:r>
              <a:rPr lang="en-US" sz="2400" dirty="0" err="1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utviklingsarbeid</a:t>
            </a:r>
            <a:r>
              <a:rPr lang="en-US" sz="24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marL="342900" indent="-342900">
              <a:lnSpc>
                <a:spcPts val="12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2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lnSpc>
                <a:spcPts val="1200"/>
              </a:lnSpc>
              <a:spcAft>
                <a:spcPts val="800"/>
              </a:spcAft>
            </a:pPr>
            <a:endParaRPr lang="nb-NO" sz="1600" dirty="0"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endParaRPr lang="nb-NO" sz="2000" dirty="0"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endParaRPr lang="nb-NO" sz="2000" dirty="0"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endParaRPr lang="nb-NO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634291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E1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A2DF297-CAB2-061B-E0FE-7436D8534C8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73EB37-952A-CB4E-5920-6C99CE4709E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5E21AA-FEE3-C094-31F3-151798B70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ktiviteter koordinerende rolle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3485125-AAB9-64CA-2026-D47A231DF0D0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069521"/>
            <a:ext cx="11471910" cy="4989081"/>
          </a:xfrm>
        </p:spPr>
        <p:txBody>
          <a:bodyPr/>
          <a:lstStyle/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20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ilslag på søknad SK-ITU til satsning på universell utforming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20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eltagelse i INTED (SFU)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20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tablert ordning for såkornmidler (400 000 pr år)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20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tablert Læringskontaktnettverket 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20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rrangert EILIN Diskuterer: AI i utdanning (V23)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20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eltagelse i nettverk ved UiO: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en-US" sz="16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Pedagogiske</a:t>
            </a:r>
            <a:r>
              <a:rPr lang="en-US" sz="16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tøtteenheter</a:t>
            </a:r>
            <a:r>
              <a:rPr lang="en-US" sz="16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ved</a:t>
            </a:r>
            <a:r>
              <a:rPr lang="en-US" sz="16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UiO </a:t>
            </a:r>
            <a:endParaRPr lang="nb-NO" sz="1600" dirty="0"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en-US" sz="16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UU-</a:t>
            </a:r>
            <a:r>
              <a:rPr lang="en-US" sz="16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nettverk</a:t>
            </a:r>
            <a:endParaRPr lang="nb-NO" sz="1600" dirty="0"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en-US" sz="16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Medieproduksjon</a:t>
            </a:r>
            <a:r>
              <a:rPr lang="en-US" sz="16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ved</a:t>
            </a:r>
            <a:r>
              <a:rPr lang="en-US" sz="16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UiO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en-US" sz="16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Bra Start/PATHWISE (</a:t>
            </a:r>
            <a:r>
              <a:rPr lang="en-US" sz="1600" dirty="0" err="1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forskningsprosjekt</a:t>
            </a:r>
            <a:r>
              <a:rPr lang="en-US" sz="16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UV)</a:t>
            </a:r>
            <a:endParaRPr lang="nb-NO" sz="1600" dirty="0"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r>
              <a:rPr lang="nb-NO" sz="20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engde innlegg på diverse arenaer 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nb-NO" sz="16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å enhetene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nb-NO" sz="16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å fakultetet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nb-NO" sz="16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å UiO</a:t>
            </a:r>
          </a:p>
          <a:p>
            <a:pPr lvl="1">
              <a:lnSpc>
                <a:spcPts val="1200"/>
              </a:lnSpc>
              <a:spcAft>
                <a:spcPts val="800"/>
              </a:spcAft>
            </a:pPr>
            <a:r>
              <a:rPr lang="nb-NO" sz="16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Utenfor UiO</a:t>
            </a:r>
          </a:p>
          <a:p>
            <a:pPr>
              <a:lnSpc>
                <a:spcPts val="1200"/>
              </a:lnSpc>
              <a:spcAft>
                <a:spcPts val="800"/>
              </a:spcAft>
            </a:pPr>
            <a:endParaRPr lang="nb-NO" sz="2000" dirty="0"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ts val="1200"/>
              </a:lnSpc>
              <a:spcAft>
                <a:spcPts val="800"/>
              </a:spcAft>
            </a:pPr>
            <a:endParaRPr lang="nb-NO" sz="18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86309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D8066C0-82C1-E7E3-1C0E-143FC9667A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BAEAC1-0DA9-0AA8-5E4F-1C6BD6B95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9688C8-49F1-7C41-90AB-493BFCB33C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uksessfaktor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D8FE96-E8F5-28E1-4A88-E68BEDA56249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solidFill>
            <a:srgbClr val="EAF9F3"/>
          </a:solidFill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/>
              <a:t>Organiseringen og plasseringen i studieseksjonen: dynamisk, operativ og strategisk enh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/>
              <a:t>Ledelsesforankring og -støtte: studiedekan, seksjonssjef, utdanningsledere (og instituttledere, kontorsjefer og studiekoordinatorer ved behov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 err="1"/>
              <a:t>Læringskontaktene</a:t>
            </a:r>
            <a:r>
              <a:rPr lang="nb-NO" sz="2800" dirty="0"/>
              <a:t> og andre dedikerte underviser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/>
              <a:t>Studentinvolvering på ulike måter</a:t>
            </a:r>
          </a:p>
          <a:p>
            <a:pPr lvl="1"/>
            <a:r>
              <a:rPr lang="nb-NO" sz="2400" dirty="0"/>
              <a:t>Ansettelser</a:t>
            </a:r>
          </a:p>
          <a:p>
            <a:pPr lvl="1"/>
            <a:r>
              <a:rPr lang="nb-NO" sz="2400" dirty="0"/>
              <a:t>Emnesamarbeid </a:t>
            </a:r>
          </a:p>
          <a:p>
            <a:pPr lvl="1"/>
            <a:r>
              <a:rPr lang="nb-NO" sz="2400" dirty="0"/>
              <a:t>SVSU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80017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088598D-2678-4F4C-2A05-1530EC6062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rgbClr val="6CE1AB"/>
          </a:solidFill>
        </p:spPr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7383EF-8553-AE9D-B8B0-CAD01F999D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970EA4-C717-EBD4-62F7-3C1C8D0397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3B3071-E793-E948-7624-8CBCE4CA3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C40006C-E236-2CDC-C4FA-5DC30E86CE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Hvilke behov ser vi?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A1611361-2911-3976-33B5-3A5EB13D65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Veien videre</a:t>
            </a:r>
          </a:p>
        </p:txBody>
      </p:sp>
    </p:spTree>
    <p:extLst>
      <p:ext uri="{BB962C8B-B14F-4D97-AF65-F5344CB8AC3E}">
        <p14:creationId xmlns:p14="http://schemas.microsoft.com/office/powerpoint/2010/main" val="5406588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C9A7E7C-653E-CF99-A4B8-C11E57CD6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C51AD5-120E-7B02-3697-DDAA6EA9A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2A5C023-B135-5D92-9539-E23B8E9A2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idere arbeid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C8022D6-B602-BB21-62DC-57D3080AE69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solidFill>
            <a:srgbClr val="EAF9F3"/>
          </a:solidFill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/>
              <a:t>Vi er godt i gang med å bygge miljøer rundt ildsjeler, men gjenstår fortsatt arbeid – særlig når det gjelder samarbeid på tvers av instituttgrenser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/>
              <a:t>Vi må nå ut til flere undervisere med tilbudet vår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/>
              <a:t>Rigge et støtteapparat og motivere flere til å søke meritter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/>
              <a:t>Bedre utnyttelse av 50 timers utviklingsarbeid (</a:t>
            </a:r>
            <a:r>
              <a:rPr lang="nb-NO" sz="2800" dirty="0" err="1"/>
              <a:t>uniped</a:t>
            </a:r>
            <a:r>
              <a:rPr lang="nb-NO" sz="2800" dirty="0"/>
              <a:t>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/>
              <a:t>Være sparringspartnere på revisjonsprosesser ol. der det er ønskeli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dirty="0"/>
              <a:t>Fortsette å være dynamisk med tanke på skiftende prioriteringer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800" b="1" dirty="0"/>
              <a:t>Satsning på kunstig intelligens: EILIN AI </a:t>
            </a:r>
            <a:r>
              <a:rPr lang="nb-NO" sz="2800" b="1" dirty="0" err="1"/>
              <a:t>Hub</a:t>
            </a:r>
            <a:endParaRPr lang="nb-NO" sz="2800" b="1" dirty="0"/>
          </a:p>
          <a:p>
            <a:pPr marL="0" indent="0"/>
            <a:endParaRPr lang="nb-NO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nb-NO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nb-NO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03901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336DA8A9-F039-7E03-24A9-7D8A8461C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ehovet for EILIN AI </a:t>
            </a:r>
            <a:r>
              <a:rPr lang="nb-NO" dirty="0" err="1"/>
              <a:t>Hub</a:t>
            </a:r>
            <a:endParaRPr lang="nb-NO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B867323-716F-346F-3182-A5246C4E3E9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solidFill>
            <a:srgbClr val="EAF9F3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3600" dirty="0">
                <a:latin typeface="+mj-lt"/>
              </a:rPr>
              <a:t>AI </a:t>
            </a:r>
            <a:r>
              <a:rPr lang="nb-NO" sz="3600" dirty="0" err="1">
                <a:latin typeface="+mj-lt"/>
              </a:rPr>
              <a:t>Task</a:t>
            </a:r>
            <a:r>
              <a:rPr lang="nb-NO" sz="3600" dirty="0">
                <a:latin typeface="+mj-lt"/>
              </a:rPr>
              <a:t> Force (mars-desember 2023) skulle l</a:t>
            </a:r>
            <a:r>
              <a:rPr lang="nb-NO" sz="3600" b="0" i="0" dirty="0">
                <a:solidFill>
                  <a:srgbClr val="000000"/>
                </a:solidFill>
                <a:effectLst/>
                <a:latin typeface="+mj-lt"/>
              </a:rPr>
              <a:t>øfte og løse problemstillinger innen kunstig intelligens i samfunnsvitenskapelig utdanning. </a:t>
            </a:r>
            <a:endParaRPr lang="nb-NO" sz="36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3600" b="0" i="0" dirty="0">
                <a:solidFill>
                  <a:srgbClr val="000000"/>
                </a:solidFill>
                <a:effectLst/>
                <a:latin typeface="+mj-lt"/>
              </a:rPr>
              <a:t>Anbefalte at EILIN skulle koordinere videre arbeid med KI, men at de vitenskapelig ansatte må lede den faglige utviklingen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3200" b="0" i="0" dirty="0">
              <a:solidFill>
                <a:srgbClr val="000000"/>
              </a:solidFill>
              <a:effectLst/>
              <a:latin typeface="+mj-lt"/>
            </a:endParaRPr>
          </a:p>
          <a:p>
            <a:br>
              <a:rPr lang="nb-NO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81398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E1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9ECE70A-3A43-53D8-F59E-5F2A9DBA162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E87C7B-8270-53CB-54AD-52C9F01C2B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36D78F8-73F0-63C3-BD89-9433F60A63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Hvorfor Læringsnettverket EILIN?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52AA73A9-C231-759B-4278-C921ADA0408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Bakgrunn</a:t>
            </a:r>
          </a:p>
        </p:txBody>
      </p:sp>
    </p:spTree>
    <p:extLst>
      <p:ext uri="{BB962C8B-B14F-4D97-AF65-F5344CB8AC3E}">
        <p14:creationId xmlns:p14="http://schemas.microsoft.com/office/powerpoint/2010/main" val="17945191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336DA8A9-F039-7E03-24A9-7D8A8461C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400" dirty="0"/>
              <a:t>Målsetning EILIN AI </a:t>
            </a:r>
            <a:r>
              <a:rPr lang="nb-NO" sz="4400" dirty="0" err="1"/>
              <a:t>Hub</a:t>
            </a:r>
            <a:endParaRPr lang="nb-NO" sz="4400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B867323-716F-346F-3182-A5246C4E3E9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solidFill>
            <a:srgbClr val="EAF9F3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4000" dirty="0">
                <a:latin typeface="+mj-lt"/>
              </a:rPr>
              <a:t>EILIN AI </a:t>
            </a:r>
            <a:r>
              <a:rPr lang="nb-NO" sz="4000" dirty="0" err="1">
                <a:latin typeface="+mj-lt"/>
              </a:rPr>
              <a:t>Hub</a:t>
            </a:r>
            <a:r>
              <a:rPr lang="nb-NO" sz="4000" dirty="0">
                <a:latin typeface="+mj-lt"/>
              </a:rPr>
              <a:t> skal frembringe kunnskapsgrunnlag og å drive erfaringsdeling og kompetansehev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4000" b="0" i="0" dirty="0">
                <a:solidFill>
                  <a:srgbClr val="000000"/>
                </a:solidFill>
                <a:effectLst/>
                <a:latin typeface="+mj-lt"/>
              </a:rPr>
              <a:t>Bred forståelse av kunstig intelligens: 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3600" dirty="0">
                <a:effectLst/>
                <a:latin typeface="+mj-lt"/>
                <a:ea typeface="MS Mincho" panose="02020609040205080304" pitchFamily="49" charset="-128"/>
              </a:rPr>
              <a:t>verktøy i fag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3600" dirty="0">
                <a:latin typeface="+mj-lt"/>
                <a:ea typeface="MS Mincho" panose="02020609040205080304" pitchFamily="49" charset="-128"/>
              </a:rPr>
              <a:t>s</a:t>
            </a:r>
            <a:r>
              <a:rPr lang="nb-NO" sz="3600" dirty="0">
                <a:effectLst/>
                <a:latin typeface="+mj-lt"/>
                <a:ea typeface="MS Mincho" panose="02020609040205080304" pitchFamily="49" charset="-128"/>
              </a:rPr>
              <a:t>amfunnsfenomen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3600" dirty="0">
                <a:latin typeface="+mj-lt"/>
                <a:ea typeface="MS Mincho" panose="02020609040205080304" pitchFamily="49" charset="-128"/>
              </a:rPr>
              <a:t>p</a:t>
            </a:r>
            <a:r>
              <a:rPr lang="nb-NO" sz="3600" dirty="0">
                <a:effectLst/>
                <a:latin typeface="+mj-lt"/>
                <a:ea typeface="MS Mincho" panose="02020609040205080304" pitchFamily="49" charset="-128"/>
              </a:rPr>
              <a:t>edagogisk verktø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b="0" i="0" dirty="0">
              <a:solidFill>
                <a:srgbClr val="000000"/>
              </a:solidFill>
              <a:effectLst/>
              <a:latin typeface="+mj-lt"/>
            </a:endParaRPr>
          </a:p>
          <a:p>
            <a:br>
              <a:rPr lang="nb-NO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222113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3AC4B3E-465C-B10F-6817-2621B1AA54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6655EA-65FA-2CDC-893F-0982ED635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446BB3B-4195-19EC-1A1D-6D26E5394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rganisering og arbeidsform</a:t>
            </a:r>
          </a:p>
        </p:txBody>
      </p:sp>
      <p:pic>
        <p:nvPicPr>
          <p:cNvPr id="6" name="Picture 5" descr="A diagram of a diagram&#10;&#10;Description automatically generated">
            <a:extLst>
              <a:ext uri="{FF2B5EF4-FFF2-40B4-BE49-F238E27FC236}">
                <a16:creationId xmlns:a16="http://schemas.microsoft.com/office/drawing/2014/main" id="{E3745094-9327-3979-3996-26AF898425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965" y="1390995"/>
            <a:ext cx="11780964" cy="463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3730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D3D452-080D-EE33-286F-14951AEEE11C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BA624D-6630-C559-2C89-21A4F6B5D18C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49758F-5DDF-0BAD-D41E-FBB0290D1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K-ITU: midler til IT i utdanning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257ECA03-6440-1F6D-2E33-BB9ECB4ACBD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sz="2400" b="1" dirty="0"/>
              <a:t>Om utlysninge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0607C42-3F3C-4072-E2C9-323DDF4F354D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nb-NO" dirty="0"/>
              <a:t>3,5 millioner kroner</a:t>
            </a:r>
          </a:p>
          <a:p>
            <a:r>
              <a:rPr lang="nb-NO" dirty="0"/>
              <a:t>500 000 kr per prosjekt, men vil kunne gi mer til større samarbeidsprosjekter</a:t>
            </a:r>
          </a:p>
          <a:p>
            <a:r>
              <a:rPr lang="nb-NO" dirty="0"/>
              <a:t>To søknadsrunder: 20. januar og 3. april</a:t>
            </a:r>
          </a:p>
          <a:p>
            <a:r>
              <a:rPr lang="nb-NO" dirty="0"/>
              <a:t>Søknaden vår videre, men anbefales å samarbeide med andre søkere.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9F8961-F4A2-1AA8-DB4C-1D86A747FE8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nb-NO" sz="2400" b="1" dirty="0"/>
              <a:t>Kriterier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C388B4-0839-6F49-6DA6-F5CCA7C5CEF5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solidFill>
            <a:schemeClr val="bg1"/>
          </a:solidFill>
        </p:spPr>
        <p:txBody>
          <a:bodyPr/>
          <a:lstStyle/>
          <a:p>
            <a:pPr algn="l" fontAlgn="base"/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Faglig idé og relevans. Prosjekter som omhandler kunstig intelligens vil bli prioritert</a:t>
            </a:r>
          </a:p>
          <a:p>
            <a:pPr algn="l" fontAlgn="base"/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Samarbeid på tvers av fagmiljøer, fagavdelinger og med studenter</a:t>
            </a:r>
          </a:p>
          <a:p>
            <a:pPr algn="l" fontAlgn="base"/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Kobling til annen faglig IT-virksomhet og eksisterende teknologi</a:t>
            </a:r>
          </a:p>
          <a:p>
            <a:pPr algn="l" fontAlgn="base"/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Prosjektets organisering og praktisk gjennomførbarhet</a:t>
            </a:r>
          </a:p>
          <a:p>
            <a:pPr algn="l" fontAlgn="base"/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Plan for videreføring: Potensiale for varig gevinst og spredning ved UiO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48124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6B93FB-835B-8E95-0BA3-75B27466C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0B4E731-884D-9D78-E424-86D95E665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akgrunn for opprettelsen av EILI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B2FFCB-268E-F1BE-7F38-8F51F407080C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dirty="0"/>
              <a:t>Digitalisering som en omfattende og langvarig endringsprosess </a:t>
            </a:r>
            <a:r>
              <a:rPr lang="nb-NO" dirty="0">
                <a:sym typeface="Wingdings" panose="05000000000000000000" pitchFamily="2" charset="2"/>
              </a:rPr>
              <a:t> pandemien som katalysator.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dirty="0"/>
              <a:t>Undervisernes digitale kompetanse økte mye på kort tid </a:t>
            </a:r>
            <a:r>
              <a:rPr lang="nb-NO" dirty="0">
                <a:sym typeface="Wingdings" panose="05000000000000000000" pitchFamily="2" charset="2"/>
              </a:rPr>
              <a:t> muliggjorde </a:t>
            </a:r>
            <a:r>
              <a:rPr lang="nb-NO" dirty="0"/>
              <a:t>mer bevisst bruk av digitale verktøy som støtte for læringsprosesser og for kvaliteten av utdanningene våre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dirty="0"/>
              <a:t>Men pandemien avdekket mangler i den fagpedagogiske kompetansen og tilstrekkelig IT/AV-tekniske ressurser til å gi undervisere støtte til å videreutvikle studentaktive læringsformer, både for digital, hybrid og fysisk undervisning for nåtiden og fremtiden.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dirty="0"/>
              <a:t>Tildeling fra SK-ITU i 2021 for opprettelse av nettverket. Tildelingen dekket deler av lønnskostnadene til 2 stillinger: 1 koordinator (100%) og 1 tekniker (50%)</a:t>
            </a:r>
          </a:p>
        </p:txBody>
      </p:sp>
    </p:spTree>
    <p:extLst>
      <p:ext uri="{BB962C8B-B14F-4D97-AF65-F5344CB8AC3E}">
        <p14:creationId xmlns:p14="http://schemas.microsoft.com/office/powerpoint/2010/main" val="1996391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E1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CCF0D837-8BA1-4B8A-91CF-A1BC413DDC8A}"/>
              </a:ext>
            </a:extLst>
          </p:cNvPr>
          <p:cNvSpPr txBox="1"/>
          <p:nvPr/>
        </p:nvSpPr>
        <p:spPr>
          <a:xfrm>
            <a:off x="444619" y="5009706"/>
            <a:ext cx="11352884" cy="16555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kemidlene skal støtte opp om læringsmålene underviserne ønsker å oppnå. SVs undervisere skal være godt kjent med digitale verktøy og de muligheter og begrensninger disse har, for å gjøre bevisste, </a:t>
            </a: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valifiserte valg av virkemidler som støtter og fremmer læring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1C73F1A-A467-4B85-80A7-2859078CB6AD}"/>
              </a:ext>
            </a:extLst>
          </p:cNvPr>
          <p:cNvSpPr txBox="1"/>
          <p:nvPr/>
        </p:nvSpPr>
        <p:spPr>
          <a:xfrm>
            <a:off x="419558" y="1193097"/>
            <a:ext cx="11352884" cy="86517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LIN skal fremme </a:t>
            </a: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udentaktive læringsformer 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g </a:t>
            </a: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erte vurderingsformer 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jennom bruk av digitale verktøy i samspill med tradisjonelle/etablerte undervisningsformer.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F4C70BE-FD1F-466B-BDDF-386B4BEB08C2}"/>
              </a:ext>
            </a:extLst>
          </p:cNvPr>
          <p:cNvSpPr txBox="1"/>
          <p:nvPr/>
        </p:nvSpPr>
        <p:spPr>
          <a:xfrm>
            <a:off x="419558" y="3474055"/>
            <a:ext cx="11352884" cy="126034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jennom EILIN vil SV-fakultetet bidra til utvikling av undervisernes </a:t>
            </a: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e ferdigheter 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g </a:t>
            </a: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dervisningskompetanse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jennom å tilby digital </a:t>
            </a: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struktur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g tekniske og pedagogiske </a:t>
            </a: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øttefunksjoner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DEF5C7B-09F6-4E7D-93C9-85246D393EC7}"/>
              </a:ext>
            </a:extLst>
          </p:cNvPr>
          <p:cNvSpPr txBox="1"/>
          <p:nvPr/>
        </p:nvSpPr>
        <p:spPr>
          <a:xfrm>
            <a:off x="419558" y="2333576"/>
            <a:ext cx="11327823" cy="86517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LIN vil bringe sammen teknisk og pedagogisk kompetanse for å skape et </a:t>
            </a: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gnært tilbud 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 fakultetets undervisere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3707625-D3E6-4443-863B-CB86D21F2191}"/>
              </a:ext>
            </a:extLst>
          </p:cNvPr>
          <p:cNvSpPr txBox="1"/>
          <p:nvPr/>
        </p:nvSpPr>
        <p:spPr>
          <a:xfrm>
            <a:off x="419558" y="192776"/>
            <a:ext cx="11352884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ÅL</a:t>
            </a:r>
          </a:p>
        </p:txBody>
      </p:sp>
    </p:spTree>
    <p:extLst>
      <p:ext uri="{BB962C8B-B14F-4D97-AF65-F5344CB8AC3E}">
        <p14:creationId xmlns:p14="http://schemas.microsoft.com/office/powerpoint/2010/main" val="33893056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08184889-C23E-D891-C19F-5FF1090DEE0D}"/>
              </a:ext>
            </a:extLst>
          </p:cNvPr>
          <p:cNvGraphicFramePr/>
          <p:nvPr/>
        </p:nvGraphicFramePr>
        <p:xfrm>
          <a:off x="357809" y="387626"/>
          <a:ext cx="11370365" cy="62815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824FA28-5E4C-D9B0-E401-68C2A6DE0A54}"/>
              </a:ext>
            </a:extLst>
          </p:cNvPr>
          <p:cNvSpPr/>
          <p:nvPr/>
        </p:nvSpPr>
        <p:spPr>
          <a:xfrm>
            <a:off x="576469" y="505850"/>
            <a:ext cx="2425147" cy="1100889"/>
          </a:xfrm>
          <a:prstGeom prst="roundRect">
            <a:avLst/>
          </a:prstGeom>
          <a:solidFill>
            <a:srgbClr val="584BF0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Referansegruppe: 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Utdanningsleder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1ACFE70-1701-C94E-14CC-A5E520239988}"/>
              </a:ext>
            </a:extLst>
          </p:cNvPr>
          <p:cNvSpPr/>
          <p:nvPr/>
        </p:nvSpPr>
        <p:spPr>
          <a:xfrm>
            <a:off x="8071460" y="5232032"/>
            <a:ext cx="3390565" cy="1238342"/>
          </a:xfrm>
          <a:prstGeom prst="roundRect">
            <a:avLst/>
          </a:prstGeom>
          <a:solidFill>
            <a:srgbClr val="584BF0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Målgruppe: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Undervisere ved SV-fakultetet</a:t>
            </a:r>
          </a:p>
        </p:txBody>
      </p:sp>
    </p:spTree>
    <p:extLst>
      <p:ext uri="{BB962C8B-B14F-4D97-AF65-F5344CB8AC3E}">
        <p14:creationId xmlns:p14="http://schemas.microsoft.com/office/powerpoint/2010/main" val="1480758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4F72D928-C02B-81B9-2C84-551EFD072D5B}"/>
              </a:ext>
            </a:extLst>
          </p:cNvPr>
          <p:cNvGrpSpPr/>
          <p:nvPr/>
        </p:nvGrpSpPr>
        <p:grpSpPr>
          <a:xfrm>
            <a:off x="-115006" y="120637"/>
            <a:ext cx="12307006" cy="6616726"/>
            <a:chOff x="3508310" y="1627768"/>
            <a:chExt cx="9360299" cy="509960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2069F52-24BC-4D01-8F92-708053255833}"/>
                </a:ext>
              </a:extLst>
            </p:cNvPr>
            <p:cNvSpPr/>
            <p:nvPr/>
          </p:nvSpPr>
          <p:spPr>
            <a:xfrm>
              <a:off x="3508310" y="1627768"/>
              <a:ext cx="9360299" cy="5099604"/>
            </a:xfrm>
            <a:prstGeom prst="rect">
              <a:avLst/>
            </a:prstGeom>
            <a:noFill/>
          </p:spPr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31E8D07-D81A-911A-64AA-A74A6A9EC0D2}"/>
                </a:ext>
              </a:extLst>
            </p:cNvPr>
            <p:cNvSpPr/>
            <p:nvPr/>
          </p:nvSpPr>
          <p:spPr>
            <a:xfrm>
              <a:off x="4571990" y="3667568"/>
              <a:ext cx="3059259" cy="3059252"/>
            </a:xfrm>
            <a:custGeom>
              <a:avLst/>
              <a:gdLst>
                <a:gd name="connsiteX0" fmla="*/ 0 w 3059259"/>
                <a:gd name="connsiteY0" fmla="*/ 1529626 h 3059252"/>
                <a:gd name="connsiteX1" fmla="*/ 1529630 w 3059259"/>
                <a:gd name="connsiteY1" fmla="*/ 0 h 3059252"/>
                <a:gd name="connsiteX2" fmla="*/ 3059260 w 3059259"/>
                <a:gd name="connsiteY2" fmla="*/ 1529626 h 3059252"/>
                <a:gd name="connsiteX3" fmla="*/ 1529630 w 3059259"/>
                <a:gd name="connsiteY3" fmla="*/ 3059252 h 3059252"/>
                <a:gd name="connsiteX4" fmla="*/ 0 w 3059259"/>
                <a:gd name="connsiteY4" fmla="*/ 1529626 h 305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9259" h="3059252">
                  <a:moveTo>
                    <a:pt x="0" y="1529626"/>
                  </a:moveTo>
                  <a:cubicBezTo>
                    <a:pt x="0" y="684837"/>
                    <a:pt x="684839" y="0"/>
                    <a:pt x="1529630" y="0"/>
                  </a:cubicBezTo>
                  <a:cubicBezTo>
                    <a:pt x="2374421" y="0"/>
                    <a:pt x="3059260" y="684837"/>
                    <a:pt x="3059260" y="1529626"/>
                  </a:cubicBezTo>
                  <a:cubicBezTo>
                    <a:pt x="3059260" y="2374415"/>
                    <a:pt x="2374421" y="3059252"/>
                    <a:pt x="1529630" y="3059252"/>
                  </a:cubicBezTo>
                  <a:cubicBezTo>
                    <a:pt x="684839" y="3059252"/>
                    <a:pt x="0" y="2374415"/>
                    <a:pt x="0" y="1529626"/>
                  </a:cubicBezTo>
                  <a:close/>
                </a:path>
              </a:pathLst>
            </a:custGeom>
            <a:solidFill>
              <a:srgbClr val="6CE1AB">
                <a:alpha val="51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516598" tIns="516597" rIns="516598" bIns="516597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beidslivsrelevans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g samfunnskontakt</a:t>
              </a: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F0B77A-D35F-6DE0-EA1F-0CD99DB9884C}"/>
                </a:ext>
              </a:extLst>
            </p:cNvPr>
            <p:cNvSpPr/>
            <p:nvPr/>
          </p:nvSpPr>
          <p:spPr>
            <a:xfrm>
              <a:off x="9060387" y="3608358"/>
              <a:ext cx="3059259" cy="3059252"/>
            </a:xfrm>
            <a:custGeom>
              <a:avLst/>
              <a:gdLst>
                <a:gd name="connsiteX0" fmla="*/ 0 w 3059259"/>
                <a:gd name="connsiteY0" fmla="*/ 1529626 h 3059252"/>
                <a:gd name="connsiteX1" fmla="*/ 1529630 w 3059259"/>
                <a:gd name="connsiteY1" fmla="*/ 0 h 3059252"/>
                <a:gd name="connsiteX2" fmla="*/ 3059260 w 3059259"/>
                <a:gd name="connsiteY2" fmla="*/ 1529626 h 3059252"/>
                <a:gd name="connsiteX3" fmla="*/ 1529630 w 3059259"/>
                <a:gd name="connsiteY3" fmla="*/ 3059252 h 3059252"/>
                <a:gd name="connsiteX4" fmla="*/ 0 w 3059259"/>
                <a:gd name="connsiteY4" fmla="*/ 1529626 h 305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9259" h="3059252">
                  <a:moveTo>
                    <a:pt x="0" y="1529626"/>
                  </a:moveTo>
                  <a:cubicBezTo>
                    <a:pt x="0" y="684837"/>
                    <a:pt x="684839" y="0"/>
                    <a:pt x="1529630" y="0"/>
                  </a:cubicBezTo>
                  <a:cubicBezTo>
                    <a:pt x="2374421" y="0"/>
                    <a:pt x="3059260" y="684837"/>
                    <a:pt x="3059260" y="1529626"/>
                  </a:cubicBezTo>
                  <a:cubicBezTo>
                    <a:pt x="3059260" y="2374415"/>
                    <a:pt x="2374421" y="3059252"/>
                    <a:pt x="1529630" y="3059252"/>
                  </a:cubicBezTo>
                  <a:cubicBezTo>
                    <a:pt x="684839" y="3059252"/>
                    <a:pt x="0" y="2374415"/>
                    <a:pt x="0" y="1529626"/>
                  </a:cubicBezTo>
                  <a:close/>
                </a:path>
              </a:pathLst>
            </a:custGeom>
            <a:solidFill>
              <a:srgbClr val="6CE1AB">
                <a:alpha val="51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516598" tIns="516597" rIns="516598" bIns="516597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VU</a:t>
              </a: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BB652FA-D1F0-3687-D1AA-5E29218E3AF2}"/>
                </a:ext>
              </a:extLst>
            </p:cNvPr>
            <p:cNvSpPr/>
            <p:nvPr/>
          </p:nvSpPr>
          <p:spPr>
            <a:xfrm>
              <a:off x="6914059" y="3667844"/>
              <a:ext cx="3059259" cy="3059252"/>
            </a:xfrm>
            <a:custGeom>
              <a:avLst/>
              <a:gdLst>
                <a:gd name="connsiteX0" fmla="*/ 0 w 3059259"/>
                <a:gd name="connsiteY0" fmla="*/ 1529626 h 3059252"/>
                <a:gd name="connsiteX1" fmla="*/ 1529630 w 3059259"/>
                <a:gd name="connsiteY1" fmla="*/ 0 h 3059252"/>
                <a:gd name="connsiteX2" fmla="*/ 3059260 w 3059259"/>
                <a:gd name="connsiteY2" fmla="*/ 1529626 h 3059252"/>
                <a:gd name="connsiteX3" fmla="*/ 1529630 w 3059259"/>
                <a:gd name="connsiteY3" fmla="*/ 3059252 h 3059252"/>
                <a:gd name="connsiteX4" fmla="*/ 0 w 3059259"/>
                <a:gd name="connsiteY4" fmla="*/ 1529626 h 305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9259" h="3059252">
                  <a:moveTo>
                    <a:pt x="0" y="1529626"/>
                  </a:moveTo>
                  <a:cubicBezTo>
                    <a:pt x="0" y="684837"/>
                    <a:pt x="684839" y="0"/>
                    <a:pt x="1529630" y="0"/>
                  </a:cubicBezTo>
                  <a:cubicBezTo>
                    <a:pt x="2374421" y="0"/>
                    <a:pt x="3059260" y="684837"/>
                    <a:pt x="3059260" y="1529626"/>
                  </a:cubicBezTo>
                  <a:cubicBezTo>
                    <a:pt x="3059260" y="2374415"/>
                    <a:pt x="2374421" y="3059252"/>
                    <a:pt x="1529630" y="3059252"/>
                  </a:cubicBezTo>
                  <a:cubicBezTo>
                    <a:pt x="684839" y="3059252"/>
                    <a:pt x="0" y="2374415"/>
                    <a:pt x="0" y="1529626"/>
                  </a:cubicBezTo>
                  <a:close/>
                </a:path>
              </a:pathLst>
            </a:custGeom>
            <a:solidFill>
              <a:srgbClr val="6CE1AB">
                <a:alpha val="51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516598" tIns="516597" rIns="516598" bIns="516597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ærekraft</a:t>
              </a: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A43CA5-C944-F27F-150A-F2099487458D}"/>
                </a:ext>
              </a:extLst>
            </p:cNvPr>
            <p:cNvSpPr/>
            <p:nvPr/>
          </p:nvSpPr>
          <p:spPr>
            <a:xfrm>
              <a:off x="8124687" y="1674421"/>
              <a:ext cx="3059259" cy="3059252"/>
            </a:xfrm>
            <a:custGeom>
              <a:avLst/>
              <a:gdLst>
                <a:gd name="connsiteX0" fmla="*/ 0 w 3059259"/>
                <a:gd name="connsiteY0" fmla="*/ 1529626 h 3059252"/>
                <a:gd name="connsiteX1" fmla="*/ 1529630 w 3059259"/>
                <a:gd name="connsiteY1" fmla="*/ 0 h 3059252"/>
                <a:gd name="connsiteX2" fmla="*/ 3059260 w 3059259"/>
                <a:gd name="connsiteY2" fmla="*/ 1529626 h 3059252"/>
                <a:gd name="connsiteX3" fmla="*/ 1529630 w 3059259"/>
                <a:gd name="connsiteY3" fmla="*/ 3059252 h 3059252"/>
                <a:gd name="connsiteX4" fmla="*/ 0 w 3059259"/>
                <a:gd name="connsiteY4" fmla="*/ 1529626 h 305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9259" h="3059252">
                  <a:moveTo>
                    <a:pt x="0" y="1529626"/>
                  </a:moveTo>
                  <a:cubicBezTo>
                    <a:pt x="0" y="684837"/>
                    <a:pt x="684839" y="0"/>
                    <a:pt x="1529630" y="0"/>
                  </a:cubicBezTo>
                  <a:cubicBezTo>
                    <a:pt x="2374421" y="0"/>
                    <a:pt x="3059260" y="684837"/>
                    <a:pt x="3059260" y="1529626"/>
                  </a:cubicBezTo>
                  <a:cubicBezTo>
                    <a:pt x="3059260" y="2374415"/>
                    <a:pt x="2374421" y="3059252"/>
                    <a:pt x="1529630" y="3059252"/>
                  </a:cubicBezTo>
                  <a:cubicBezTo>
                    <a:pt x="684839" y="3059252"/>
                    <a:pt x="0" y="2374415"/>
                    <a:pt x="0" y="1529626"/>
                  </a:cubicBezTo>
                  <a:close/>
                </a:path>
              </a:pathLst>
            </a:custGeom>
            <a:solidFill>
              <a:srgbClr val="6CE1AB">
                <a:alpha val="51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516598" tIns="516597" rIns="516598" bIns="516597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verrfaglighet </a:t>
              </a: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AC477C9-4E35-DDB1-92A1-D4758F5D4F3B}"/>
                </a:ext>
              </a:extLst>
            </p:cNvPr>
            <p:cNvSpPr/>
            <p:nvPr/>
          </p:nvSpPr>
          <p:spPr>
            <a:xfrm>
              <a:off x="5678384" y="1627768"/>
              <a:ext cx="3059259" cy="3059252"/>
            </a:xfrm>
            <a:custGeom>
              <a:avLst/>
              <a:gdLst>
                <a:gd name="connsiteX0" fmla="*/ 0 w 3059259"/>
                <a:gd name="connsiteY0" fmla="*/ 1529626 h 3059252"/>
                <a:gd name="connsiteX1" fmla="*/ 1529630 w 3059259"/>
                <a:gd name="connsiteY1" fmla="*/ 0 h 3059252"/>
                <a:gd name="connsiteX2" fmla="*/ 3059260 w 3059259"/>
                <a:gd name="connsiteY2" fmla="*/ 1529626 h 3059252"/>
                <a:gd name="connsiteX3" fmla="*/ 1529630 w 3059259"/>
                <a:gd name="connsiteY3" fmla="*/ 3059252 h 3059252"/>
                <a:gd name="connsiteX4" fmla="*/ 0 w 3059259"/>
                <a:gd name="connsiteY4" fmla="*/ 1529626 h 305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9259" h="3059252">
                  <a:moveTo>
                    <a:pt x="0" y="1529626"/>
                  </a:moveTo>
                  <a:cubicBezTo>
                    <a:pt x="0" y="684837"/>
                    <a:pt x="684839" y="0"/>
                    <a:pt x="1529630" y="0"/>
                  </a:cubicBezTo>
                  <a:cubicBezTo>
                    <a:pt x="2374421" y="0"/>
                    <a:pt x="3059260" y="684837"/>
                    <a:pt x="3059260" y="1529626"/>
                  </a:cubicBezTo>
                  <a:cubicBezTo>
                    <a:pt x="3059260" y="2374415"/>
                    <a:pt x="2374421" y="3059252"/>
                    <a:pt x="1529630" y="3059252"/>
                  </a:cubicBezTo>
                  <a:cubicBezTo>
                    <a:pt x="684839" y="3059252"/>
                    <a:pt x="0" y="2374415"/>
                    <a:pt x="0" y="1529626"/>
                  </a:cubicBezTo>
                  <a:close/>
                </a:path>
              </a:pathLst>
            </a:custGeom>
            <a:solidFill>
              <a:srgbClr val="584BF0">
                <a:alpha val="51000"/>
              </a:srgb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spcFirstLastPara="0" vert="horz" wrap="square" lIns="516598" tIns="516597" rIns="516598" bIns="516597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udentaktiv læring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6775D36-3B92-35DF-2DAF-BE4A66E6F95A}"/>
              </a:ext>
            </a:extLst>
          </p:cNvPr>
          <p:cNvSpPr txBox="1"/>
          <p:nvPr/>
        </p:nvSpPr>
        <p:spPr>
          <a:xfrm>
            <a:off x="180473" y="234615"/>
            <a:ext cx="3098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Vs strategiske områder for utdanning (Strategi 2030)</a:t>
            </a:r>
          </a:p>
        </p:txBody>
      </p:sp>
    </p:spTree>
    <p:extLst>
      <p:ext uri="{BB962C8B-B14F-4D97-AF65-F5344CB8AC3E}">
        <p14:creationId xmlns:p14="http://schemas.microsoft.com/office/powerpoint/2010/main" val="1004024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C27DB1C8-27D3-91FB-A84F-0E51966B52F5}"/>
              </a:ext>
            </a:extLst>
          </p:cNvPr>
          <p:cNvSpPr/>
          <p:nvPr/>
        </p:nvSpPr>
        <p:spPr>
          <a:xfrm>
            <a:off x="178904" y="5874026"/>
            <a:ext cx="2802835" cy="9839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457827-925A-76E2-6BE6-BFD2002EA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28041C-306D-6579-184A-398FC263B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3BEB602C-12BA-9DFE-8C15-5F068887E257}"/>
              </a:ext>
            </a:extLst>
          </p:cNvPr>
          <p:cNvGraphicFramePr/>
          <p:nvPr/>
        </p:nvGraphicFramePr>
        <p:xfrm>
          <a:off x="-828483" y="632102"/>
          <a:ext cx="13332977" cy="6060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C15E005-EE0E-BFB9-6175-D260C721EDC3}"/>
              </a:ext>
            </a:extLst>
          </p:cNvPr>
          <p:cNvSpPr txBox="1"/>
          <p:nvPr/>
        </p:nvSpPr>
        <p:spPr>
          <a:xfrm>
            <a:off x="2588339" y="124754"/>
            <a:ext cx="63517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LINs</a:t>
            </a: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jerneoppgaver </a:t>
            </a:r>
          </a:p>
        </p:txBody>
      </p:sp>
    </p:spTree>
    <p:extLst>
      <p:ext uri="{BB962C8B-B14F-4D97-AF65-F5344CB8AC3E}">
        <p14:creationId xmlns:p14="http://schemas.microsoft.com/office/powerpoint/2010/main" val="2684699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CE1A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C53489-7B23-CAB7-7EA2-73222D62F0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B07C13-3139-B1A5-44A1-2D9D485CD0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CDB6833-1E58-285C-CC66-63E252AB94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835EC2-67E2-011D-EDDF-46E95485A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69E931-3020-646D-3B16-9A009C3939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Hva har vi gjort? Hvor er vi nå?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CF3B2C8-5691-5343-4089-A760E5CE4F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8999269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54FE2030-A43E-4C1B-AD99-4BDC6EBC54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429" y="2446546"/>
            <a:ext cx="1487914" cy="2240550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7CE224EE-EE7C-A2F4-FC97-FB74EE1D9ABB}"/>
              </a:ext>
            </a:extLst>
          </p:cNvPr>
          <p:cNvGrpSpPr/>
          <p:nvPr/>
        </p:nvGrpSpPr>
        <p:grpSpPr>
          <a:xfrm>
            <a:off x="586236" y="0"/>
            <a:ext cx="10893490" cy="6916807"/>
            <a:chOff x="316689" y="-3923"/>
            <a:chExt cx="10893490" cy="6916807"/>
          </a:xfrm>
        </p:grpSpPr>
        <p:pic>
          <p:nvPicPr>
            <p:cNvPr id="25" name="Picture 24" descr="A picture containing person, wall, posing, smiling&#10;&#10;Description automatically generated">
              <a:extLst>
                <a:ext uri="{FF2B5EF4-FFF2-40B4-BE49-F238E27FC236}">
                  <a16:creationId xmlns:a16="http://schemas.microsoft.com/office/drawing/2014/main" id="{AB54D78D-BF49-48A5-B7C7-94F50C687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1142" y="4690169"/>
              <a:ext cx="1435562" cy="2219615"/>
            </a:xfrm>
            <a:prstGeom prst="rect">
              <a:avLst/>
            </a:prstGeom>
          </p:spPr>
        </p:pic>
        <p:pic>
          <p:nvPicPr>
            <p:cNvPr id="13" name="Picture 12" descr="A picture containing human face, person, headshot, smile&#10;&#10;Description automatically generated">
              <a:extLst>
                <a:ext uri="{FF2B5EF4-FFF2-40B4-BE49-F238E27FC236}">
                  <a16:creationId xmlns:a16="http://schemas.microsoft.com/office/drawing/2014/main" id="{B87F0E6E-1762-EDEB-E948-A42B9E4424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5090" y="-3923"/>
              <a:ext cx="1622846" cy="2440371"/>
            </a:xfrm>
            <a:prstGeom prst="rect">
              <a:avLst/>
            </a:prstGeom>
          </p:spPr>
        </p:pic>
        <p:pic>
          <p:nvPicPr>
            <p:cNvPr id="2" name="Picture Placeholder 11" descr="A person with curly hair smiling&#10;&#10;Description automatically generated with low confidence">
              <a:extLst>
                <a:ext uri="{FF2B5EF4-FFF2-40B4-BE49-F238E27FC236}">
                  <a16:creationId xmlns:a16="http://schemas.microsoft.com/office/drawing/2014/main" id="{F21A7586-DCC8-757A-F012-4F6F3C701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325" b="13325"/>
            <a:stretch>
              <a:fillRect/>
            </a:stretch>
          </p:blipFill>
          <p:spPr>
            <a:xfrm>
              <a:off x="9349941" y="4771448"/>
              <a:ext cx="1829225" cy="2021726"/>
            </a:xfrm>
            <a:prstGeom prst="rect">
              <a:avLst/>
            </a:prstGeom>
          </p:spPr>
        </p:pic>
        <p:pic>
          <p:nvPicPr>
            <p:cNvPr id="18" name="Picture 17" descr="A close-up of a person smiling&#10;&#10;Description automatically generated">
              <a:extLst>
                <a:ext uri="{FF2B5EF4-FFF2-40B4-BE49-F238E27FC236}">
                  <a16:creationId xmlns:a16="http://schemas.microsoft.com/office/drawing/2014/main" id="{EEF7905F-4D5D-D086-FF5D-349802C6F22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2950" y="4567892"/>
              <a:ext cx="1549420" cy="2325341"/>
            </a:xfrm>
            <a:prstGeom prst="rect">
              <a:avLst/>
            </a:prstGeom>
          </p:spPr>
        </p:pic>
        <p:pic>
          <p:nvPicPr>
            <p:cNvPr id="23" name="Picture 22" descr="A person with curly hair&#10;&#10;Description automatically generated with medium confidence">
              <a:extLst>
                <a:ext uri="{FF2B5EF4-FFF2-40B4-BE49-F238E27FC236}">
                  <a16:creationId xmlns:a16="http://schemas.microsoft.com/office/drawing/2014/main" id="{E4C4C775-43F9-4A0A-913D-2542BB2743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9114" y="4473934"/>
              <a:ext cx="1549420" cy="2395658"/>
            </a:xfrm>
            <a:prstGeom prst="rect">
              <a:avLst/>
            </a:prstGeom>
          </p:spPr>
        </p:pic>
        <p:pic>
          <p:nvPicPr>
            <p:cNvPr id="5" name="Picture Placeholder 13" descr="A close-up of a person smiling&#10;&#10;Description automatically generated">
              <a:extLst>
                <a:ext uri="{FF2B5EF4-FFF2-40B4-BE49-F238E27FC236}">
                  <a16:creationId xmlns:a16="http://schemas.microsoft.com/office/drawing/2014/main" id="{96FDD048-6E05-41BB-29DB-8AFB263AC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248" b="13248"/>
            <a:stretch>
              <a:fillRect/>
            </a:stretch>
          </p:blipFill>
          <p:spPr>
            <a:xfrm>
              <a:off x="6175314" y="4764728"/>
              <a:ext cx="1826143" cy="2018319"/>
            </a:xfrm>
            <a:prstGeom prst="rect">
              <a:avLst/>
            </a:prstGeom>
          </p:spPr>
        </p:pic>
        <p:pic>
          <p:nvPicPr>
            <p:cNvPr id="12" name="Picture 11" descr="A person with short hair wearing a black shirt&#10;&#10;Description automatically generated with low confidence">
              <a:extLst>
                <a:ext uri="{FF2B5EF4-FFF2-40B4-BE49-F238E27FC236}">
                  <a16:creationId xmlns:a16="http://schemas.microsoft.com/office/drawing/2014/main" id="{1E1D5FB7-1393-75CD-83DA-7C2D28DB4D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1982" y="44601"/>
              <a:ext cx="1584354" cy="2378015"/>
            </a:xfrm>
            <a:prstGeom prst="rect">
              <a:avLst/>
            </a:prstGeom>
          </p:spPr>
        </p:pic>
        <p:pic>
          <p:nvPicPr>
            <p:cNvPr id="9" name="Picture 8" descr="A person with blonde hair&#10;&#10;Description automatically generated with low confidence">
              <a:extLst>
                <a:ext uri="{FF2B5EF4-FFF2-40B4-BE49-F238E27FC236}">
                  <a16:creationId xmlns:a16="http://schemas.microsoft.com/office/drawing/2014/main" id="{8277E271-6909-7D9A-17F3-EEFF1FCAC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8546" y="4735"/>
              <a:ext cx="1622848" cy="2440370"/>
            </a:xfrm>
            <a:prstGeom prst="rect">
              <a:avLst/>
            </a:prstGeom>
          </p:spPr>
        </p:pic>
        <p:pic>
          <p:nvPicPr>
            <p:cNvPr id="10" name="Picture 9" descr="A close-up of a person smiling&#10;&#10;Description automatically generated">
              <a:extLst>
                <a:ext uri="{FF2B5EF4-FFF2-40B4-BE49-F238E27FC236}">
                  <a16:creationId xmlns:a16="http://schemas.microsoft.com/office/drawing/2014/main" id="{B77937D6-7CBF-E9F1-B15B-076FF3A0A6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0543" y="102556"/>
              <a:ext cx="1550761" cy="2331970"/>
            </a:xfrm>
            <a:prstGeom prst="rect">
              <a:avLst/>
            </a:prstGeom>
          </p:spPr>
        </p:pic>
        <p:pic>
          <p:nvPicPr>
            <p:cNvPr id="11" name="Picture 10" descr="A picture containing human face, person, chin, forehead&#10;&#10;Description automatically generated">
              <a:extLst>
                <a:ext uri="{FF2B5EF4-FFF2-40B4-BE49-F238E27FC236}">
                  <a16:creationId xmlns:a16="http://schemas.microsoft.com/office/drawing/2014/main" id="{29C4BCD1-F968-D721-03E0-3684D40D31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659" y="85910"/>
              <a:ext cx="1550760" cy="2331970"/>
            </a:xfrm>
            <a:prstGeom prst="rect">
              <a:avLst/>
            </a:prstGeom>
          </p:spPr>
        </p:pic>
        <p:pic>
          <p:nvPicPr>
            <p:cNvPr id="15" name="Picture 14" descr="A person with a beard&#10;&#10;Description automatically generated">
              <a:extLst>
                <a:ext uri="{FF2B5EF4-FFF2-40B4-BE49-F238E27FC236}">
                  <a16:creationId xmlns:a16="http://schemas.microsoft.com/office/drawing/2014/main" id="{264A0FE3-B2E7-FE6C-A1BA-EAA26591E1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26849" y="4690617"/>
              <a:ext cx="1476110" cy="2222267"/>
            </a:xfrm>
            <a:prstGeom prst="rect">
              <a:avLst/>
            </a:prstGeom>
          </p:spPr>
        </p:pic>
        <p:pic>
          <p:nvPicPr>
            <p:cNvPr id="20" name="Picture 19" descr="A close-up of a person&#10;&#10;Description automatically generated">
              <a:extLst>
                <a:ext uri="{FF2B5EF4-FFF2-40B4-BE49-F238E27FC236}">
                  <a16:creationId xmlns:a16="http://schemas.microsoft.com/office/drawing/2014/main" id="{22529BD3-1CA1-F6F9-DB38-AEB6BCFFD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2444" y="4645930"/>
              <a:ext cx="1502870" cy="2254304"/>
            </a:xfrm>
            <a:prstGeom prst="rect">
              <a:avLst/>
            </a:prstGeom>
          </p:spPr>
        </p:pic>
        <p:pic>
          <p:nvPicPr>
            <p:cNvPr id="28" name="Picture 27" descr="A person with a white shirt and black jacket&#10;&#10;Description automatically generated">
              <a:extLst>
                <a:ext uri="{FF2B5EF4-FFF2-40B4-BE49-F238E27FC236}">
                  <a16:creationId xmlns:a16="http://schemas.microsoft.com/office/drawing/2014/main" id="{3DE25C08-952C-22D5-7C2B-CCA551ED8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1392" y="-3922"/>
              <a:ext cx="1608787" cy="2419228"/>
            </a:xfrm>
            <a:prstGeom prst="rect">
              <a:avLst/>
            </a:prstGeom>
          </p:spPr>
        </p:pic>
        <p:pic>
          <p:nvPicPr>
            <p:cNvPr id="26" name="Picture 25" descr="A person with long hair wearing glasses&#10;&#10;Description automatically generated">
              <a:extLst>
                <a:ext uri="{FF2B5EF4-FFF2-40B4-BE49-F238E27FC236}">
                  <a16:creationId xmlns:a16="http://schemas.microsoft.com/office/drawing/2014/main" id="{61B9DF6E-EDEB-67E3-4B76-0C57E4A109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14166" y="2433205"/>
              <a:ext cx="1560693" cy="2350143"/>
            </a:xfrm>
            <a:prstGeom prst="rect">
              <a:avLst/>
            </a:prstGeom>
          </p:spPr>
        </p:pic>
        <p:pic>
          <p:nvPicPr>
            <p:cNvPr id="17" name="Picture 16" descr="A person with a beard and glasses&#10;&#10;Description automatically generated with medium confidence">
              <a:extLst>
                <a:ext uri="{FF2B5EF4-FFF2-40B4-BE49-F238E27FC236}">
                  <a16:creationId xmlns:a16="http://schemas.microsoft.com/office/drawing/2014/main" id="{7EE6B4E1-93F3-4450-9447-AB1EF97C7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04933" y="2435684"/>
              <a:ext cx="1510267" cy="2350143"/>
            </a:xfrm>
            <a:prstGeom prst="rect">
              <a:avLst/>
            </a:prstGeom>
          </p:spPr>
        </p:pic>
        <p:pic>
          <p:nvPicPr>
            <p:cNvPr id="34" name="Picture 33" descr="A person with a beard and mustache&#10;&#10;Description automatically generated">
              <a:extLst>
                <a:ext uri="{FF2B5EF4-FFF2-40B4-BE49-F238E27FC236}">
                  <a16:creationId xmlns:a16="http://schemas.microsoft.com/office/drawing/2014/main" id="{2480D0C5-A695-7CCF-F118-A3DBFA72E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6496" y="44601"/>
              <a:ext cx="1579564" cy="2378015"/>
            </a:xfrm>
            <a:prstGeom prst="rect">
              <a:avLst/>
            </a:prstGeom>
          </p:spPr>
        </p:pic>
        <p:pic>
          <p:nvPicPr>
            <p:cNvPr id="4" name="Picture 3" descr="A person with short hair wearing a black shirt&#10;&#10;Description automatically generated with low confidence">
              <a:extLst>
                <a:ext uri="{FF2B5EF4-FFF2-40B4-BE49-F238E27FC236}">
                  <a16:creationId xmlns:a16="http://schemas.microsoft.com/office/drawing/2014/main" id="{FDE6FD8B-A180-AA7E-7497-CCAE1FE2B1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1012" y="44685"/>
              <a:ext cx="1584354" cy="2378015"/>
            </a:xfrm>
            <a:prstGeom prst="rect">
              <a:avLst/>
            </a:prstGeom>
          </p:spPr>
        </p:pic>
        <p:pic>
          <p:nvPicPr>
            <p:cNvPr id="6" name="Picture 5" descr="A close-up of a person smiling&#10;&#10;Description automatically generated">
              <a:extLst>
                <a:ext uri="{FF2B5EF4-FFF2-40B4-BE49-F238E27FC236}">
                  <a16:creationId xmlns:a16="http://schemas.microsoft.com/office/drawing/2014/main" id="{E10C1307-DB95-C47F-66C4-862FD9C753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4165" y="102472"/>
              <a:ext cx="1537139" cy="2311486"/>
            </a:xfrm>
            <a:prstGeom prst="rect">
              <a:avLst/>
            </a:prstGeom>
          </p:spPr>
        </p:pic>
        <p:pic>
          <p:nvPicPr>
            <p:cNvPr id="7" name="Picture 6" descr="A picture containing human face, person, chin, forehead&#10;&#10;Description automatically generated">
              <a:extLst>
                <a:ext uri="{FF2B5EF4-FFF2-40B4-BE49-F238E27FC236}">
                  <a16:creationId xmlns:a16="http://schemas.microsoft.com/office/drawing/2014/main" id="{8E65CB69-CAB2-318B-31BD-172A8564C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689" y="85994"/>
              <a:ext cx="1566506" cy="2355648"/>
            </a:xfrm>
            <a:prstGeom prst="rect">
              <a:avLst/>
            </a:prstGeom>
          </p:spPr>
        </p:pic>
        <p:pic>
          <p:nvPicPr>
            <p:cNvPr id="8" name="Picture 7" descr="A person with a beard and mustache&#10;&#10;Description automatically generated">
              <a:extLst>
                <a:ext uri="{FF2B5EF4-FFF2-40B4-BE49-F238E27FC236}">
                  <a16:creationId xmlns:a16="http://schemas.microsoft.com/office/drawing/2014/main" id="{0B42F3FD-9C0B-970B-6140-D133B0ADB9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5526" y="44685"/>
              <a:ext cx="1579564" cy="2378015"/>
            </a:xfrm>
            <a:prstGeom prst="rect">
              <a:avLst/>
            </a:prstGeom>
          </p:spPr>
        </p:pic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93B1C6FA-8E83-F21C-8778-B8CCE7BD1984}"/>
              </a:ext>
            </a:extLst>
          </p:cNvPr>
          <p:cNvSpPr/>
          <p:nvPr/>
        </p:nvSpPr>
        <p:spPr>
          <a:xfrm>
            <a:off x="-53179" y="0"/>
            <a:ext cx="783933" cy="6858000"/>
          </a:xfrm>
          <a:prstGeom prst="rect">
            <a:avLst/>
          </a:prstGeom>
          <a:solidFill>
            <a:srgbClr val="EAF9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21A9C22-DED0-0E0B-FC92-0ADF8DA8A05E}"/>
              </a:ext>
            </a:extLst>
          </p:cNvPr>
          <p:cNvSpPr/>
          <p:nvPr/>
        </p:nvSpPr>
        <p:spPr>
          <a:xfrm>
            <a:off x="11388796" y="-49926"/>
            <a:ext cx="841159" cy="6858000"/>
          </a:xfrm>
          <a:prstGeom prst="rect">
            <a:avLst/>
          </a:prstGeom>
          <a:solidFill>
            <a:srgbClr val="EAF9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9C3831D-4DBB-9F03-7714-1D22D72CCA41}"/>
              </a:ext>
            </a:extLst>
          </p:cNvPr>
          <p:cNvSpPr/>
          <p:nvPr/>
        </p:nvSpPr>
        <p:spPr>
          <a:xfrm flipV="1">
            <a:off x="0" y="-65441"/>
            <a:ext cx="12192000" cy="267818"/>
          </a:xfrm>
          <a:prstGeom prst="rect">
            <a:avLst/>
          </a:prstGeom>
          <a:solidFill>
            <a:srgbClr val="EAF9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0D05FBB-2BDD-5947-0E1B-7DC68691C9C3}"/>
              </a:ext>
            </a:extLst>
          </p:cNvPr>
          <p:cNvSpPr/>
          <p:nvPr/>
        </p:nvSpPr>
        <p:spPr>
          <a:xfrm flipV="1">
            <a:off x="0" y="6745600"/>
            <a:ext cx="12192000" cy="448558"/>
          </a:xfrm>
          <a:prstGeom prst="rect">
            <a:avLst/>
          </a:prstGeom>
          <a:solidFill>
            <a:srgbClr val="EAF9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13" descr="A close-up of a person&#10;&#10;Description automatically generated">
            <a:extLst>
              <a:ext uri="{FF2B5EF4-FFF2-40B4-BE49-F238E27FC236}">
                <a16:creationId xmlns:a16="http://schemas.microsoft.com/office/drawing/2014/main" id="{691D214E-C31F-638E-6C12-21D7D872020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370" y="2475753"/>
            <a:ext cx="1480257" cy="2219615"/>
          </a:xfrm>
          <a:prstGeom prst="rect">
            <a:avLst/>
          </a:prstGeom>
        </p:spPr>
      </p:pic>
      <p:pic>
        <p:nvPicPr>
          <p:cNvPr id="19" name="Picture 18" descr="A person with red hair wearing a suit&#10;&#10;Description automatically generated">
            <a:extLst>
              <a:ext uri="{FF2B5EF4-FFF2-40B4-BE49-F238E27FC236}">
                <a16:creationId xmlns:a16="http://schemas.microsoft.com/office/drawing/2014/main" id="{AA577212-5B78-754F-2D08-A09F78D34A0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647" y="2410179"/>
            <a:ext cx="1491833" cy="2246451"/>
          </a:xfrm>
          <a:prstGeom prst="rect">
            <a:avLst/>
          </a:prstGeom>
        </p:spPr>
      </p:pic>
      <p:pic>
        <p:nvPicPr>
          <p:cNvPr id="24" name="Picture 23" descr="A person with blonde hair wearing a red scarf&#10;&#10;Description automatically generated">
            <a:extLst>
              <a:ext uri="{FF2B5EF4-FFF2-40B4-BE49-F238E27FC236}">
                <a16:creationId xmlns:a16="http://schemas.microsoft.com/office/drawing/2014/main" id="{B3DE70F7-B923-433C-47B5-B63FAA6512E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3872" y="2450808"/>
            <a:ext cx="1544222" cy="2325341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F01F2F4A-86F3-083D-B7CA-D8D753821928}"/>
              </a:ext>
            </a:extLst>
          </p:cNvPr>
          <p:cNvGrpSpPr/>
          <p:nvPr/>
        </p:nvGrpSpPr>
        <p:grpSpPr>
          <a:xfrm>
            <a:off x="5166375" y="2259086"/>
            <a:ext cx="1709875" cy="2564914"/>
            <a:chOff x="7620000" y="-273"/>
            <a:chExt cx="4572000" cy="6858273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47336B5-D913-1D0D-D9D7-C2469A8512D6}"/>
                </a:ext>
              </a:extLst>
            </p:cNvPr>
            <p:cNvGrpSpPr/>
            <p:nvPr/>
          </p:nvGrpSpPr>
          <p:grpSpPr>
            <a:xfrm>
              <a:off x="7620000" y="-273"/>
              <a:ext cx="4572000" cy="6858273"/>
              <a:chOff x="2722728" y="-225"/>
              <a:chExt cx="3765884" cy="5649051"/>
            </a:xfrm>
            <a:solidFill>
              <a:srgbClr val="EAF9F3"/>
            </a:solidFill>
          </p:grpSpPr>
          <p:pic>
            <p:nvPicPr>
              <p:cNvPr id="32" name="Picture 31" descr="A blue and green arrow&#10;&#10;Description automatically generated">
                <a:extLst>
                  <a:ext uri="{FF2B5EF4-FFF2-40B4-BE49-F238E27FC236}">
                    <a16:creationId xmlns:a16="http://schemas.microsoft.com/office/drawing/2014/main" id="{07259E02-44AD-DD75-C2C0-7D8A33BBD7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22728" y="1882942"/>
                <a:ext cx="1882942" cy="1882942"/>
              </a:xfrm>
              <a:prstGeom prst="rect">
                <a:avLst/>
              </a:prstGeom>
              <a:grpFill/>
            </p:spPr>
          </p:pic>
          <p:pic>
            <p:nvPicPr>
              <p:cNvPr id="33" name="Picture 32" descr="A green arrow pointing up to a white rectangle&#10;&#10;Description automatically generated">
                <a:extLst>
                  <a:ext uri="{FF2B5EF4-FFF2-40B4-BE49-F238E27FC236}">
                    <a16:creationId xmlns:a16="http://schemas.microsoft.com/office/drawing/2014/main" id="{6EABC2E5-A713-6753-BB5E-3210EBCE72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05670" y="1882942"/>
                <a:ext cx="1882942" cy="1882942"/>
              </a:xfrm>
              <a:prstGeom prst="rect">
                <a:avLst/>
              </a:prstGeom>
              <a:grpFill/>
            </p:spPr>
          </p:pic>
          <p:pic>
            <p:nvPicPr>
              <p:cNvPr id="35" name="Picture 34" descr="A blue rectangle and green circles&#10;&#10;Description automatically generated">
                <a:extLst>
                  <a:ext uri="{FF2B5EF4-FFF2-40B4-BE49-F238E27FC236}">
                    <a16:creationId xmlns:a16="http://schemas.microsoft.com/office/drawing/2014/main" id="{D66B7C97-AE07-4324-4249-1BDE3C62F4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05670" y="-225"/>
                <a:ext cx="1882942" cy="1882942"/>
              </a:xfrm>
              <a:prstGeom prst="rect">
                <a:avLst/>
              </a:prstGeom>
              <a:grpFill/>
            </p:spPr>
          </p:pic>
          <p:pic>
            <p:nvPicPr>
              <p:cNvPr id="42" name="Picture 41" descr="A blue and green stacked objects&#10;&#10;Description automatically generated">
                <a:extLst>
                  <a:ext uri="{FF2B5EF4-FFF2-40B4-BE49-F238E27FC236}">
                    <a16:creationId xmlns:a16="http://schemas.microsoft.com/office/drawing/2014/main" id="{71C6665D-452C-C1C2-6130-692F9323DC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05670" y="3765659"/>
                <a:ext cx="1882942" cy="1882942"/>
              </a:xfrm>
              <a:prstGeom prst="rect">
                <a:avLst/>
              </a:prstGeom>
              <a:grpFill/>
            </p:spPr>
          </p:pic>
          <p:pic>
            <p:nvPicPr>
              <p:cNvPr id="43" name="Picture 42" descr="A blue and green logo&#10;&#10;Description automatically generated">
                <a:extLst>
                  <a:ext uri="{FF2B5EF4-FFF2-40B4-BE49-F238E27FC236}">
                    <a16:creationId xmlns:a16="http://schemas.microsoft.com/office/drawing/2014/main" id="{6B36B4F1-AACB-9BAC-DA60-9D56058084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22728" y="3765884"/>
                <a:ext cx="1882942" cy="1882942"/>
              </a:xfrm>
              <a:prstGeom prst="rect">
                <a:avLst/>
              </a:prstGeom>
              <a:grpFill/>
            </p:spPr>
          </p:pic>
        </p:grpSp>
        <p:pic>
          <p:nvPicPr>
            <p:cNvPr id="31" name="Picture 30" descr="A blue and green logo&#10;&#10;Description automatically generated">
              <a:extLst>
                <a:ext uri="{FF2B5EF4-FFF2-40B4-BE49-F238E27FC236}">
                  <a16:creationId xmlns:a16="http://schemas.microsoft.com/office/drawing/2014/main" id="{2099A174-3E9C-83CE-8DB0-F23A917DE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0000" y="0"/>
              <a:ext cx="2286000" cy="228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6021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3" ma:contentTypeDescription="Opprett et nytt dokument." ma:contentTypeScope="" ma:versionID="5455942cb6f0bea4a5be7aed3bead13f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5fb6ac5289525f1f15273a3106bcccc3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C72580FF-7F01-4AAE-8F7B-56E7B47502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docMetadata/LabelInfo.xml><?xml version="1.0" encoding="utf-8"?>
<clbl:labelList xmlns:clbl="http://schemas.microsoft.com/office/2020/mipLabelMetadata">
  <clbl:label id="{463b6811-b0a4-4b2a-b932-72c4c970c5d2}" enabled="0" method="" siteId="{463b6811-b0a4-4b2a-b932-72c4c970c5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684</TotalTime>
  <Words>1109</Words>
  <Application>Microsoft Office PowerPoint</Application>
  <PresentationFormat>Widescreen</PresentationFormat>
  <Paragraphs>209</Paragraphs>
  <Slides>2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Arial, sans-serif</vt:lpstr>
      <vt:lpstr>Calibri</vt:lpstr>
      <vt:lpstr>Calibri Light</vt:lpstr>
      <vt:lpstr>Helvetica</vt:lpstr>
      <vt:lpstr>Wingdings</vt:lpstr>
      <vt:lpstr>Office Theme</vt:lpstr>
      <vt:lpstr>1_Office Theme</vt:lpstr>
      <vt:lpstr>think-cell Slide</vt:lpstr>
      <vt:lpstr>Fra ildsjeler til miljøer</vt:lpstr>
      <vt:lpstr>Hvorfor Læringsnettverket EILIN?</vt:lpstr>
      <vt:lpstr>Bakgrunn for opprettelsen av EILIN</vt:lpstr>
      <vt:lpstr>PowerPoint Presentation</vt:lpstr>
      <vt:lpstr>PowerPoint Presentation</vt:lpstr>
      <vt:lpstr>PowerPoint Presentation</vt:lpstr>
      <vt:lpstr>PowerPoint Presentation</vt:lpstr>
      <vt:lpstr>Hva har vi gjort? Hvor er vi nå?</vt:lpstr>
      <vt:lpstr>PowerPoint Presentation</vt:lpstr>
      <vt:lpstr>Noen milepæler</vt:lpstr>
      <vt:lpstr>Tematiske områder 2021-2023</vt:lpstr>
      <vt:lpstr>Aktiviteter pedagogisk kompetanse</vt:lpstr>
      <vt:lpstr>Aktiviteter teknisk kompetanse</vt:lpstr>
      <vt:lpstr>Aktiviteter bestillerkompetanse</vt:lpstr>
      <vt:lpstr>Aktiviteter koordinerende rolle </vt:lpstr>
      <vt:lpstr>Suksessfaktorer</vt:lpstr>
      <vt:lpstr>Hvilke behov ser vi?</vt:lpstr>
      <vt:lpstr>Videre arbeid</vt:lpstr>
      <vt:lpstr>Behovet for EILIN AI Hub</vt:lpstr>
      <vt:lpstr>Målsetning EILIN AI Hub</vt:lpstr>
      <vt:lpstr>Organisering og arbeidsform</vt:lpstr>
      <vt:lpstr>SK-ITU: midler til IT i utdan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ri Marie Aamodt</dc:creator>
  <cp:lastModifiedBy>Siri Marie Aamodt</cp:lastModifiedBy>
  <cp:revision>1</cp:revision>
  <dcterms:created xsi:type="dcterms:W3CDTF">2024-03-13T07:26:57Z</dcterms:created>
  <dcterms:modified xsi:type="dcterms:W3CDTF">2024-03-14T08:2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